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9" r:id="rId5"/>
    <p:sldMasterId id="2147484314" r:id="rId6"/>
    <p:sldMasterId id="2147484324" r:id="rId7"/>
    <p:sldMasterId id="2147484347" r:id="rId8"/>
    <p:sldMasterId id="2147484361" r:id="rId9"/>
    <p:sldMasterId id="2147484384" r:id="rId10"/>
  </p:sldMasterIdLst>
  <p:notesMasterIdLst>
    <p:notesMasterId r:id="rId46"/>
  </p:notesMasterIdLst>
  <p:handoutMasterIdLst>
    <p:handoutMasterId r:id="rId47"/>
  </p:handoutMasterIdLst>
  <p:sldIdLst>
    <p:sldId id="1424" r:id="rId11"/>
    <p:sldId id="1425" r:id="rId12"/>
    <p:sldId id="1426" r:id="rId13"/>
    <p:sldId id="1427" r:id="rId14"/>
    <p:sldId id="1428" r:id="rId15"/>
    <p:sldId id="1429" r:id="rId16"/>
    <p:sldId id="1430" r:id="rId17"/>
    <p:sldId id="1431" r:id="rId18"/>
    <p:sldId id="1432" r:id="rId19"/>
    <p:sldId id="1433" r:id="rId20"/>
    <p:sldId id="1434" r:id="rId21"/>
    <p:sldId id="1435" r:id="rId22"/>
    <p:sldId id="1436" r:id="rId23"/>
    <p:sldId id="1437" r:id="rId24"/>
    <p:sldId id="1438" r:id="rId25"/>
    <p:sldId id="1439" r:id="rId26"/>
    <p:sldId id="1440" r:id="rId27"/>
    <p:sldId id="1441" r:id="rId28"/>
    <p:sldId id="1442" r:id="rId29"/>
    <p:sldId id="1443" r:id="rId30"/>
    <p:sldId id="1444" r:id="rId31"/>
    <p:sldId id="1445" r:id="rId32"/>
    <p:sldId id="1446" r:id="rId33"/>
    <p:sldId id="1447" r:id="rId34"/>
    <p:sldId id="1448" r:id="rId35"/>
    <p:sldId id="1449" r:id="rId36"/>
    <p:sldId id="1450" r:id="rId37"/>
    <p:sldId id="1451" r:id="rId38"/>
    <p:sldId id="1452" r:id="rId39"/>
    <p:sldId id="1453" r:id="rId40"/>
    <p:sldId id="1423" r:id="rId41"/>
    <p:sldId id="1454" r:id="rId42"/>
    <p:sldId id="1455" r:id="rId43"/>
    <p:sldId id="1457" r:id="rId44"/>
    <p:sldId id="1458" r:id="rId4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5730" autoAdjust="0"/>
  </p:normalViewPr>
  <p:slideViewPr>
    <p:cSldViewPr snapToObjects="1">
      <p:cViewPr varScale="1">
        <p:scale>
          <a:sx n="125" d="100"/>
          <a:sy n="125" d="100"/>
        </p:scale>
        <p:origin x="90" y="162"/>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3536"/>
    </p:cViewPr>
  </p:sorterViewPr>
  <p:notesViewPr>
    <p:cSldViewPr snapToObjects="1" showGuides="1">
      <p:cViewPr varScale="1">
        <p:scale>
          <a:sx n="81" d="100"/>
          <a:sy n="81" d="100"/>
        </p:scale>
        <p:origin x="222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3/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3/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65576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24081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099" rtl="0" eaLnBrk="1" fontAlgn="base" latinLnBrk="0" hangingPunct="1">
              <a:lnSpc>
                <a:spcPct val="90000"/>
              </a:lnSpc>
              <a:spcBef>
                <a:spcPct val="0"/>
              </a:spcBef>
              <a:spcAft>
                <a:spcPts val="1200"/>
              </a:spcAft>
              <a:buClrTx/>
              <a:buSzTx/>
              <a:buFont typeface="Arial" pitchFamily="34" charset="0"/>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A17F966-951A-41B3-9519-312C88623955}"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820661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865015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0BDF53F-48D6-4CA2-8B82-3D8E3E6D078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702187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00532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763326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4734205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292416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963981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952207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562517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618453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0883987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9284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D7D7CF-1DAD-47F1-BB48-5088D3BD3085}"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238394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A577F15-4695-43CD-83B0-974BBDDCBE58}"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428764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947164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224924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062143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1525824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358944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78374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246880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54554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758650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6" name="Date Placeholder 5"/>
          <p:cNvSpPr>
            <a:spLocks noGrp="1"/>
          </p:cNvSpPr>
          <p:nvPr>
            <p:ph type="dt" idx="12"/>
          </p:nvPr>
        </p:nvSpPr>
        <p:spPr/>
        <p:txBody>
          <a:bodyPr/>
          <a:lstStyle/>
          <a:p>
            <a:fld id="{FA577F15-4695-43CD-83B0-974BBDDCBE58}"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06932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5390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13/2014 3: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43541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184AD0D-785C-415D-9709-F0B25A9FEB51}"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24277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5/1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780280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2" y="3283255"/>
            <a:ext cx="7666298"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786135217"/>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2" y="3283255"/>
            <a:ext cx="7666298"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909166232"/>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267779"/>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2" y="3283255"/>
            <a:ext cx="7666298"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121626736"/>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069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006933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9295881"/>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413090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75069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0867421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6"/>
            <a:ext cx="11375538" cy="77687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3" y="1476625"/>
            <a:ext cx="11375538" cy="20405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323695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7518" cy="803070"/>
          </a:xfrm>
        </p:spPr>
        <p:txBody>
          <a:bodyPr/>
          <a:lstStyle>
            <a:lvl1pPr>
              <a:defRPr sz="5798">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1713718"/>
          </a:xfrm>
        </p:spPr>
        <p:txBody>
          <a:bodyPr/>
          <a:lstStyle>
            <a:lvl1pPr>
              <a:defRPr sz="2599">
                <a:gradFill>
                  <a:gsLst>
                    <a:gs pos="1250">
                      <a:schemeClr val="tx1"/>
                    </a:gs>
                    <a:gs pos="100000">
                      <a:schemeClr val="tx1"/>
                    </a:gs>
                  </a:gsLst>
                  <a:lin ang="5400000" scaled="0"/>
                </a:gradFill>
                <a:latin typeface="+mn-lt"/>
              </a:defRPr>
            </a:lvl1pPr>
            <a:lvl2pPr>
              <a:defRPr sz="2399"/>
            </a:lvl2pPr>
            <a:lvl3pPr>
              <a:defRPr sz="1999"/>
            </a:lvl3pPr>
            <a:lvl4pPr>
              <a:defRPr sz="1799"/>
            </a:lvl4pPr>
            <a:lvl5pPr>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14890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lvl1pPr marL="0" indent="0">
              <a:buNone/>
              <a:defRPr/>
            </a:lvl1pPr>
          </a:lstStyle>
          <a:p>
            <a:endParaRPr lang="en-US"/>
          </a:p>
        </p:txBody>
      </p:sp>
      <p:sp>
        <p:nvSpPr>
          <p:cNvPr id="9" name="Title 1"/>
          <p:cNvSpPr>
            <a:spLocks noGrp="1"/>
          </p:cNvSpPr>
          <p:nvPr>
            <p:ph type="title" hasCustomPrompt="1"/>
          </p:nvPr>
        </p:nvSpPr>
        <p:spPr>
          <a:xfrm>
            <a:off x="274704" y="296863"/>
            <a:ext cx="5486335" cy="1828800"/>
          </a:xfrm>
          <a:noFill/>
        </p:spPr>
        <p:txBody>
          <a:bodyPr lIns="182880" tIns="146304" rIns="182880" bIns="146304" anchor="t" anchorCtr="0"/>
          <a:lstStyle>
            <a:lvl1pPr>
              <a:defRPr sz="4799"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2844677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2187"/>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799"/>
            </a:lvl1pPr>
          </a:lstStyle>
          <a:p>
            <a:r>
              <a:rPr lang="en-US" dirty="0" smtClean="0"/>
              <a:t>Click to edit Master title style</a:t>
            </a:r>
            <a:endParaRPr lang="en-US" dirty="0"/>
          </a:p>
        </p:txBody>
      </p:sp>
    </p:spTree>
    <p:extLst>
      <p:ext uri="{BB962C8B-B14F-4D97-AF65-F5344CB8AC3E}">
        <p14:creationId xmlns:p14="http://schemas.microsoft.com/office/powerpoint/2010/main" val="179028409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589620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9051463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95089978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4"/>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68419984"/>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9"/>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1"/>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1"/>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1"/>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199" b="0">
                <a:gradFill>
                  <a:gsLst>
                    <a:gs pos="15929">
                      <a:schemeClr val="tx1"/>
                    </a:gs>
                    <a:gs pos="41000">
                      <a:schemeClr val="tx1"/>
                    </a:gs>
                  </a:gsLst>
                  <a:lin ang="5400000" scaled="0"/>
                </a:gradFill>
                <a:latin typeface="+mn-lt"/>
                <a:cs typeface="Segoe Pro"/>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74578255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157850573"/>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358602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87580385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7121021"/>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smtClean="0"/>
              <a:t>Click to edit Master text styles</a:t>
            </a:r>
          </a:p>
        </p:txBody>
      </p:sp>
    </p:spTree>
    <p:extLst>
      <p:ext uri="{BB962C8B-B14F-4D97-AF65-F5344CB8AC3E}">
        <p14:creationId xmlns:p14="http://schemas.microsoft.com/office/powerpoint/2010/main" val="406951296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9"/>
            <a:ext cx="9144000" cy="849463"/>
          </a:xfrm>
        </p:spPr>
        <p:txBody>
          <a:bodyPr/>
          <a:lstStyle>
            <a:lvl1pPr marL="0" indent="0">
              <a:buNone/>
              <a:defRPr sz="4799"/>
            </a:lvl1pPr>
            <a:lvl2pPr>
              <a:defRPr sz="3599"/>
            </a:lvl2pPr>
            <a:lvl3pPr>
              <a:defRPr sz="3599"/>
            </a:lvl3pPr>
            <a:lvl4pPr>
              <a:defRPr sz="3599"/>
            </a:lvl4pPr>
            <a:lvl5pPr>
              <a:defRPr sz="3599"/>
            </a:lvl5pPr>
          </a:lstStyle>
          <a:p>
            <a:pPr lvl="0"/>
            <a:r>
              <a:rPr lang="en-US" dirty="0" smtClean="0"/>
              <a:t>Click to edit Master text styles</a:t>
            </a:r>
          </a:p>
        </p:txBody>
      </p:sp>
    </p:spTree>
    <p:extLst>
      <p:ext uri="{BB962C8B-B14F-4D97-AF65-F5344CB8AC3E}">
        <p14:creationId xmlns:p14="http://schemas.microsoft.com/office/powerpoint/2010/main" val="35369041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9144318" cy="5486366"/>
          </a:xfrm>
        </p:spPr>
        <p:txBody>
          <a:bodyPr/>
          <a:lstStyle>
            <a:lvl1pPr>
              <a:defRPr sz="4799"/>
            </a:lvl1pPr>
          </a:lstStyle>
          <a:p>
            <a:r>
              <a:rPr lang="en-US" dirty="0" smtClean="0"/>
              <a:t>Click to edit Master title style</a:t>
            </a:r>
            <a:endParaRPr lang="en-US" dirty="0"/>
          </a:p>
        </p:txBody>
      </p:sp>
    </p:spTree>
    <p:extLst>
      <p:ext uri="{BB962C8B-B14F-4D97-AF65-F5344CB8AC3E}">
        <p14:creationId xmlns:p14="http://schemas.microsoft.com/office/powerpoint/2010/main" val="233081860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428322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61866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68038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252907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978304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465355"/>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048043"/>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6"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324"/>
            <a:endParaRPr lang="en-US">
              <a:solidFill>
                <a:srgbClr val="EFEFEF"/>
              </a:solidFill>
            </a:endParaRPr>
          </a:p>
        </p:txBody>
      </p:sp>
      <p:sp>
        <p:nvSpPr>
          <p:cNvPr id="2" name="Title 1"/>
          <p:cNvSpPr>
            <a:spLocks noGrp="1"/>
          </p:cNvSpPr>
          <p:nvPr>
            <p:ph type="title" hasCustomPrompt="1"/>
          </p:nvPr>
        </p:nvSpPr>
        <p:spPr>
          <a:xfrm>
            <a:off x="5761038" y="1211264"/>
            <a:ext cx="6400800" cy="2179058"/>
          </a:xfrm>
        </p:spPr>
        <p:txBody>
          <a:bodyPr wrap="square" anchor="t" anchorCtr="0">
            <a:spAutoFit/>
          </a:bodyPr>
          <a:lstStyle>
            <a:lvl1pPr>
              <a:defRPr sz="7198"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631470"/>
          </a:xfrm>
        </p:spPr>
        <p:txBody>
          <a:bodyPr wrap="square">
            <a:spAutoFit/>
          </a:bodyPr>
          <a:lstStyle>
            <a:lvl1pPr marL="0" indent="0">
              <a:spcBef>
                <a:spcPts val="0"/>
              </a:spcBef>
              <a:buNone/>
              <a:defRPr sz="3199"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70020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028537"/>
          </a:xfrm>
          <a:prstGeom prst="rect">
            <a:avLst/>
          </a:prstGeom>
        </p:spPr>
        <p:txBody>
          <a:bodyPr>
            <a:spAutoFit/>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2069416179"/>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67704153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40837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18947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3343316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699012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046613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482161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1587532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636402924"/>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535190733"/>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084476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0899266"/>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092443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1922392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5221383"/>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9899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086061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037511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9317527"/>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586616922"/>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699794248"/>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524738520"/>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508199085"/>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326117262"/>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078263992"/>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4945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03880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520746"/>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734182"/>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28591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511573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91552899"/>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03360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
        <p:nvSpPr>
          <p:cNvPr id="6"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7"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3" y="513797"/>
            <a:ext cx="11428171" cy="742628"/>
          </a:xfrm>
        </p:spPr>
        <p:txBody>
          <a:bodyPr vert="horz" lIns="0" tIns="0" rIns="0" bIns="0" rtlCol="0">
            <a:noAutofit/>
          </a:bodyPr>
          <a:lstStyle>
            <a:lvl1pPr>
              <a:defRPr lang="en-US" sz="4898" dirty="0" smtClean="0"/>
            </a:lvl1pPr>
          </a:lstStyle>
          <a:p>
            <a:pPr lvl="0"/>
            <a:r>
              <a:rPr lang="en-US" dirty="0" smtClean="0"/>
              <a:t>Click to edit Master text styles</a:t>
            </a:r>
          </a:p>
        </p:txBody>
      </p:sp>
    </p:spTree>
    <p:extLst>
      <p:ext uri="{BB962C8B-B14F-4D97-AF65-F5344CB8AC3E}">
        <p14:creationId xmlns:p14="http://schemas.microsoft.com/office/powerpoint/2010/main" val="90069798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424869595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38161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914558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3950221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06413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049295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4589301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
        <p:nvSpPr>
          <p:cNvPr id="11"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810777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86355429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1184827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547907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345554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634998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266591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1250955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96110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92405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239359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6373887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01820388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9130949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278402945"/>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59088402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2342134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2891638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rgbClr val="002050"/>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219825" y="0"/>
            <a:ext cx="6216650" cy="6992587"/>
          </a:xfrm>
          <a:blipFill>
            <a:blip r:embed="rId2"/>
            <a:stretch>
              <a:fillRect/>
            </a:stretch>
          </a:blipFill>
        </p:spPr>
        <p:txBody>
          <a:bodyPr tIns="548640" anchor="ctr" anchorCtr="0">
            <a:noAutofit/>
          </a:bodyPr>
          <a:lstStyle>
            <a:lvl1pPr marL="342900" marR="0" indent="-342900" algn="ctr" defTabSz="932742" rtl="0" eaLnBrk="1" fontAlgn="auto" latinLnBrk="0" hangingPunct="1">
              <a:lnSpc>
                <a:spcPct val="90000"/>
              </a:lnSpc>
              <a:spcBef>
                <a:spcPct val="20000"/>
              </a:spcBef>
              <a:spcAft>
                <a:spcPts val="0"/>
              </a:spcAft>
              <a:buClr>
                <a:schemeClr val="tx1"/>
              </a:buClr>
              <a:buSzPct val="100000"/>
              <a:buFontTx/>
              <a:buBlip>
                <a:blip r:embed="rId3"/>
              </a:buBlip>
              <a:tabLst/>
              <a:defRPr lang="en-US" sz="2400" kern="1200" spc="0" baseline="0" dirty="0">
                <a:gradFill>
                  <a:gsLst>
                    <a:gs pos="1250">
                      <a:srgbClr val="FFFFFF"/>
                    </a:gs>
                    <a:gs pos="100000">
                      <a:srgbClr val="FFFFFF"/>
                    </a:gs>
                  </a:gsLst>
                  <a:lin ang="5400000" scaled="0"/>
                </a:gradFill>
                <a:latin typeface="+mj-lt"/>
                <a:ea typeface="+mn-ea"/>
                <a:cs typeface="+mn-cs"/>
              </a:defRPr>
            </a:lvl1pPr>
          </a:lstStyle>
          <a:p>
            <a:r>
              <a:rPr lang="en-US" smtClean="0"/>
              <a:t>Click icon to add picture</a:t>
            </a:r>
            <a:endParaRPr lang="en-US" dirty="0"/>
          </a:p>
        </p:txBody>
      </p:sp>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10" name="MS logo white"/>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spTree>
    <p:extLst>
      <p:ext uri="{BB962C8B-B14F-4D97-AF65-F5344CB8AC3E}">
        <p14:creationId xmlns:p14="http://schemas.microsoft.com/office/powerpoint/2010/main" val="66841949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88153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65985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77236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02080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39610474"/>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006758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457631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69958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0" y="1144706"/>
            <a:ext cx="11255709" cy="2435131"/>
          </a:xfrm>
        </p:spPr>
        <p:txBody>
          <a:bodyPr anchor="b"/>
          <a:lstStyle>
            <a:lvl1pPr algn="l">
              <a:defRPr sz="6119"/>
            </a:lvl1pPr>
          </a:lstStyle>
          <a:p>
            <a:r>
              <a:rPr lang="en-US" dirty="0" smtClean="0"/>
              <a:t>Click to edit Master title style</a:t>
            </a:r>
            <a:endParaRPr lang="en-US" dirty="0"/>
          </a:p>
        </p:txBody>
      </p:sp>
      <p:sp>
        <p:nvSpPr>
          <p:cNvPr id="3" name="Subtitle 2"/>
          <p:cNvSpPr>
            <a:spLocks noGrp="1"/>
          </p:cNvSpPr>
          <p:nvPr>
            <p:ph type="subTitle" idx="1"/>
          </p:nvPr>
        </p:nvSpPr>
        <p:spPr>
          <a:xfrm>
            <a:off x="618330" y="3673745"/>
            <a:ext cx="11255709" cy="1688724"/>
          </a:xfrm>
        </p:spPr>
        <p:txBody>
          <a:bodyPr>
            <a:normAutofit/>
          </a:bodyPr>
          <a:lstStyle>
            <a:lvl1pPr marL="0" indent="0" algn="l">
              <a:buNone/>
              <a:defRPr sz="3672"/>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smtClean="0"/>
              <a:t>Click to edit Master subtitle style</a:t>
            </a:r>
            <a:endParaRPr lang="en-US" dirty="0"/>
          </a:p>
        </p:txBody>
      </p:sp>
    </p:spTree>
    <p:extLst>
      <p:ext uri="{BB962C8B-B14F-4D97-AF65-F5344CB8AC3E}">
        <p14:creationId xmlns:p14="http://schemas.microsoft.com/office/powerpoint/2010/main" val="308302794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75437129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72043" y="2153641"/>
            <a:ext cx="11301996" cy="40602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smtClean="0"/>
              <a:t>Secondary refining headline</a:t>
            </a:r>
            <a:endParaRPr lang="en-US" dirty="0"/>
          </a:p>
        </p:txBody>
      </p:sp>
    </p:spTree>
    <p:extLst>
      <p:ext uri="{BB962C8B-B14F-4D97-AF65-F5344CB8AC3E}">
        <p14:creationId xmlns:p14="http://schemas.microsoft.com/office/powerpoint/2010/main" val="2327914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26315519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2043" y="424788"/>
            <a:ext cx="11301996" cy="940467"/>
          </a:xfrm>
        </p:spPr>
        <p:txBody>
          <a:bodyPr>
            <a:normAutofit/>
          </a:bodyPr>
          <a:lstStyle>
            <a:lvl1pPr>
              <a:defRPr sz="4488"/>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graphicFrame>
        <p:nvGraphicFramePr>
          <p:cNvPr id="6" name="Table 5"/>
          <p:cNvGraphicFramePr>
            <a:graphicFrameLocks noGrp="1"/>
          </p:cNvGraphicFramePr>
          <p:nvPr userDrawn="1">
            <p:extLst/>
          </p:nvPr>
        </p:nvGraphicFramePr>
        <p:xfrm>
          <a:off x="595915" y="1505991"/>
          <a:ext cx="11278124" cy="4406400"/>
        </p:xfrm>
        <a:graphic>
          <a:graphicData uri="http://schemas.openxmlformats.org/drawingml/2006/table">
            <a:tbl>
              <a:tblPr firstRow="1" bandRow="1">
                <a:tableStyleId>{5C22544A-7EE6-4342-B048-85BDC9FD1C3A}</a:tableStyleId>
              </a:tblPr>
              <a:tblGrid>
                <a:gridCol w="2819531"/>
                <a:gridCol w="2819531"/>
                <a:gridCol w="2819531"/>
                <a:gridCol w="2819531"/>
              </a:tblGrid>
              <a:tr h="657264">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r>
                        <a:rPr lang="en-US" sz="2000" dirty="0" smtClean="0">
                          <a:solidFill>
                            <a:schemeClr val="bg1"/>
                          </a:solidFill>
                        </a:rPr>
                        <a:t>Heading</a:t>
                      </a:r>
                      <a:endParaRPr lang="en-US" sz="2000" dirty="0">
                        <a:solidFill>
                          <a:schemeClr val="bg1"/>
                        </a:solidFill>
                      </a:endParaRPr>
                    </a:p>
                  </a:txBody>
                  <a:tcPr marL="139910" marR="139910" marT="139891" marB="139891"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1249712">
                <a:tc>
                  <a:txBody>
                    <a:bodyPr/>
                    <a:lstStyle/>
                    <a:p>
                      <a:r>
                        <a:rPr lang="en-US" sz="1600" dirty="0" smtClean="0">
                          <a:solidFill>
                            <a:srgbClr val="3C454F"/>
                          </a:solidFill>
                        </a:rPr>
                        <a:t>Content</a:t>
                      </a:r>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381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r h="12497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rgbClr val="3C454F"/>
                          </a:solidFill>
                        </a:rPr>
                        <a:t>Content</a:t>
                      </a:r>
                    </a:p>
                    <a:p>
                      <a:endParaRPr lang="en-US" sz="1600" dirty="0">
                        <a:solidFill>
                          <a:srgbClr val="3C454F"/>
                        </a:solidFill>
                      </a:endParaRPr>
                    </a:p>
                  </a:txBody>
                  <a:tcPr marL="139910" marR="139910" marT="139891" marB="139891">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94926209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81946"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78054428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7775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2044" y="466301"/>
            <a:ext cx="4295671" cy="1975233"/>
          </a:xfrm>
        </p:spPr>
        <p:txBody>
          <a:bodyPr anchor="b">
            <a:noAutofit/>
          </a:bodyPr>
          <a:lstStyle>
            <a:lvl1pPr>
              <a:defRPr sz="4080"/>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586917" cy="4970646"/>
          </a:xfrm>
        </p:spPr>
        <p:txBody>
          <a:bodyPr/>
          <a:lstStyle>
            <a:lvl1pPr>
              <a:defRPr sz="3264">
                <a:latin typeface="+mj-lt"/>
              </a:defRPr>
            </a:lvl1pPr>
            <a:lvl2pPr>
              <a:defRPr sz="2856">
                <a:latin typeface="+mj-lt"/>
              </a:defRPr>
            </a:lvl2pPr>
            <a:lvl3pPr>
              <a:defRPr sz="2448">
                <a:latin typeface="+mj-lt"/>
              </a:defRPr>
            </a:lvl3pPr>
            <a:lvl4pPr>
              <a:defRPr sz="2040">
                <a:latin typeface="+mj-lt"/>
              </a:defRPr>
            </a:lvl4pPr>
            <a:lvl5pPr>
              <a:defRPr sz="2040">
                <a:latin typeface="+mj-lt"/>
              </a:defRPr>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72044" y="2655911"/>
            <a:ext cx="4295671" cy="3329913"/>
          </a:xfrm>
        </p:spPr>
        <p:txBody>
          <a:bodyPr>
            <a:normAutofit/>
          </a:bodyPr>
          <a:lstStyle>
            <a:lvl1pPr marL="0" indent="0">
              <a:buNone/>
              <a:defRPr sz="2040"/>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dirty="0" smtClean="0"/>
              <a:t>Click to edit Master text styles</a:t>
            </a:r>
          </a:p>
        </p:txBody>
      </p:sp>
      <p:sp>
        <p:nvSpPr>
          <p:cNvPr id="7" name="Slide Number Placeholder 6"/>
          <p:cNvSpPr>
            <a:spLocks noGrp="1"/>
          </p:cNvSpPr>
          <p:nvPr>
            <p:ph type="sldNum" sz="quarter" idx="12"/>
          </p:nvPr>
        </p:nvSpPr>
        <p:spPr>
          <a:xfrm>
            <a:off x="9075832" y="6380761"/>
            <a:ext cx="2798207" cy="372394"/>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8736221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459230" y="5612731"/>
            <a:ext cx="8812606" cy="734889"/>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81310" y="4652932"/>
            <a:ext cx="3288506" cy="704445"/>
          </a:xfrm>
          <a:prstGeom prst="rect">
            <a:avLst/>
          </a:prstGeom>
        </p:spPr>
      </p:pic>
    </p:spTree>
    <p:extLst>
      <p:ext uri="{BB962C8B-B14F-4D97-AF65-F5344CB8AC3E}">
        <p14:creationId xmlns:p14="http://schemas.microsoft.com/office/powerpoint/2010/main" val="353781984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Teal">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lvl1pPr>
          </a:lstStyle>
          <a:p>
            <a:endParaRPr lang="en-US"/>
          </a:p>
        </p:txBody>
      </p:sp>
      <p:sp>
        <p:nvSpPr>
          <p:cNvPr id="9" name="Title 1"/>
          <p:cNvSpPr>
            <a:spLocks noGrp="1"/>
          </p:cNvSpPr>
          <p:nvPr>
            <p:ph type="title" hasCustomPrompt="1"/>
          </p:nvPr>
        </p:nvSpPr>
        <p:spPr>
          <a:xfrm>
            <a:off x="274703" y="296863"/>
            <a:ext cx="5486335" cy="1828800"/>
          </a:xfrm>
          <a:noFill/>
        </p:spPr>
        <p:txBody>
          <a:bodyPr lIns="182880" tIns="146304" rIns="182880" bIns="146304" anchor="t" anchorCtr="0"/>
          <a:lstStyle>
            <a:lvl1pPr>
              <a:defRPr sz="4800" spc="-100" baseline="0">
                <a:gradFill>
                  <a:gsLst>
                    <a:gs pos="46903">
                      <a:srgbClr val="FFFFFF"/>
                    </a:gs>
                    <a:gs pos="83000">
                      <a:srgbClr val="FFFFFF"/>
                    </a:gs>
                  </a:gsLst>
                  <a:lin ang="5400000" scaled="1"/>
                </a:gradFill>
              </a:defRPr>
            </a:lvl1pPr>
          </a:lstStyle>
          <a:p>
            <a:r>
              <a:rPr lang="en-US" dirty="0" smtClean="0"/>
              <a:t>Presentation title</a:t>
            </a:r>
            <a:endParaRPr lang="en-US" dirty="0"/>
          </a:p>
        </p:txBody>
      </p:sp>
    </p:spTree>
    <p:extLst>
      <p:ext uri="{BB962C8B-B14F-4D97-AF65-F5344CB8AC3E}">
        <p14:creationId xmlns:p14="http://schemas.microsoft.com/office/powerpoint/2010/main" val="1238158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Photo Teal">
    <p:bg bwMode="ltGray">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p:spPr>
        <p:txBody>
          <a:bodyPr/>
          <a:lstStyle/>
          <a:p>
            <a:endParaRPr lang="en-US" dirty="0"/>
          </a:p>
        </p:txBody>
      </p:sp>
      <p:sp>
        <p:nvSpPr>
          <p:cNvPr id="2" name="Title 1"/>
          <p:cNvSpPr>
            <a:spLocks noGrp="1"/>
          </p:cNvSpPr>
          <p:nvPr>
            <p:ph type="title"/>
          </p:nvPr>
        </p:nvSpPr>
        <p:spPr>
          <a:xfrm>
            <a:off x="274320" y="1211263"/>
            <a:ext cx="4572318" cy="4572000"/>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19926041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Teal">
    <p:bg bwMode="ltGray">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744293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61309297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216038585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0868" y="1759883"/>
            <a:ext cx="3474740" cy="3474760"/>
          </a:xfrm>
        </p:spPr>
        <p:txBody>
          <a:bodyPr/>
          <a:lstStyle>
            <a:lvl1pPr>
              <a:defRPr/>
            </a:lvl1pPr>
          </a:lstStyle>
          <a:p>
            <a:r>
              <a:rPr lang="en-US" dirty="0" smtClean="0"/>
              <a:t>Click to edit Master title style </a:t>
            </a:r>
            <a:endParaRPr lang="en-US" dirty="0"/>
          </a:p>
        </p:txBody>
      </p:sp>
      <p:sp>
        <p:nvSpPr>
          <p:cNvPr id="3" name="Rectangle 2"/>
          <p:cNvSpPr/>
          <p:nvPr userDrawn="1"/>
        </p:nvSpPr>
        <p:spPr bwMode="auto">
          <a:xfrm>
            <a:off x="393223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795560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3932238" y="523464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7955608" y="1211263"/>
            <a:ext cx="548630" cy="5486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9527278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8 Categories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22" name="Text Placeholder 26"/>
          <p:cNvSpPr>
            <a:spLocks noGrp="1"/>
          </p:cNvSpPr>
          <p:nvPr>
            <p:ph type="body" sz="quarter" idx="38" hasCustomPrompt="1"/>
          </p:nvPr>
        </p:nvSpPr>
        <p:spPr>
          <a:xfrm>
            <a:off x="279340" y="4137018"/>
            <a:ext cx="2743200" cy="2560671"/>
          </a:xfrm>
          <a:prstGeom prst="rect">
            <a:avLst/>
          </a:prstGeom>
          <a:solidFill>
            <a:schemeClr val="accent3">
              <a:lumMod val="50000"/>
            </a:schemeClr>
          </a:solidFill>
        </p:spPr>
        <p:txBody>
          <a:bodyPr lIns="182880" tIns="146304" rIns="182880" bIns="146304">
            <a:noAutofit/>
          </a:bodyPr>
          <a:lstStyle>
            <a:lvl1pPr marL="0" indent="0">
              <a:lnSpc>
                <a:spcPct val="9000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3" name="Text Placeholder 26"/>
          <p:cNvSpPr>
            <a:spLocks noGrp="1"/>
          </p:cNvSpPr>
          <p:nvPr>
            <p:ph type="body" sz="quarter" idx="39" hasCustomPrompt="1"/>
          </p:nvPr>
        </p:nvSpPr>
        <p:spPr>
          <a:xfrm>
            <a:off x="3144631"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4" name="Text Placeholder 26"/>
          <p:cNvSpPr>
            <a:spLocks noGrp="1"/>
          </p:cNvSpPr>
          <p:nvPr>
            <p:ph type="body" sz="quarter" idx="41" hasCustomPrompt="1"/>
          </p:nvPr>
        </p:nvSpPr>
        <p:spPr>
          <a:xfrm>
            <a:off x="8874642"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5" name="Text Placeholder 26"/>
          <p:cNvSpPr>
            <a:spLocks noGrp="1"/>
          </p:cNvSpPr>
          <p:nvPr>
            <p:ph type="body" sz="quarter" idx="42" hasCustomPrompt="1"/>
          </p:nvPr>
        </p:nvSpPr>
        <p:spPr>
          <a:xfrm>
            <a:off x="6009636" y="4137020"/>
            <a:ext cx="2742914" cy="2560643"/>
          </a:xfrm>
          <a:prstGeom prst="rect">
            <a:avLst/>
          </a:prstGeom>
          <a:solidFill>
            <a:schemeClr val="accent3">
              <a:lumMod val="50000"/>
            </a:schemeClr>
          </a:solidFill>
        </p:spPr>
        <p:txBody>
          <a:bodyPr lIns="182880" tIns="146304" rIns="182880" bIns="146304">
            <a:noAutofit/>
          </a:bodyPr>
          <a:lstStyle>
            <a:lvl1pPr marL="0" indent="0">
              <a:lnSpc>
                <a:spcPts val="1440"/>
              </a:lnSpc>
              <a:spcBef>
                <a:spcPts val="0"/>
              </a:spcBef>
              <a:spcAft>
                <a:spcPts val="600"/>
              </a:spcAft>
              <a:buFontTx/>
              <a:buNone/>
              <a:defRPr sz="1200" b="0">
                <a:gradFill>
                  <a:gsLst>
                    <a:gs pos="15929">
                      <a:schemeClr val="tx1"/>
                    </a:gs>
                    <a:gs pos="41000">
                      <a:schemeClr val="tx1"/>
                    </a:gs>
                  </a:gsLst>
                  <a:lin ang="5400000" scaled="0"/>
                </a:gra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7" name="Text Placeholder 26"/>
          <p:cNvSpPr>
            <a:spLocks noGrp="1"/>
          </p:cNvSpPr>
          <p:nvPr>
            <p:ph type="body" sz="quarter" idx="30" hasCustomPrompt="1"/>
          </p:nvPr>
        </p:nvSpPr>
        <p:spPr>
          <a:xfrm>
            <a:off x="314454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8" name="Text Placeholder 26"/>
          <p:cNvSpPr>
            <a:spLocks noGrp="1"/>
          </p:cNvSpPr>
          <p:nvPr>
            <p:ph type="body" sz="quarter" idx="32" hasCustomPrompt="1"/>
          </p:nvPr>
        </p:nvSpPr>
        <p:spPr>
          <a:xfrm>
            <a:off x="6009466"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29" name="Text Placeholder 26"/>
          <p:cNvSpPr>
            <a:spLocks noGrp="1"/>
          </p:cNvSpPr>
          <p:nvPr>
            <p:ph type="body" sz="quarter" idx="33" hasCustomPrompt="1"/>
          </p:nvPr>
        </p:nvSpPr>
        <p:spPr>
          <a:xfrm>
            <a:off x="8874387" y="1274472"/>
            <a:ext cx="2742914" cy="2743200"/>
          </a:xfrm>
          <a:prstGeom prst="rect">
            <a:avLst/>
          </a:prstGeom>
          <a:solidFill>
            <a:schemeClr val="tx1"/>
          </a:solidFill>
        </p:spPr>
        <p:txBody>
          <a:bodyPr lIns="182880" tIns="146304" rIns="182880" bIns="146304">
            <a:noAutofit/>
          </a:bodyPr>
          <a:lstStyle>
            <a:lvl1pPr marL="0" indent="0">
              <a:lnSpc>
                <a:spcPct val="90000"/>
              </a:lnSpc>
              <a:buFontTx/>
              <a:buNone/>
              <a:defRPr sz="2400">
                <a:gradFill>
                  <a:gsLst>
                    <a:gs pos="1770">
                      <a:schemeClr val="bg1"/>
                    </a:gs>
                    <a:gs pos="15929">
                      <a:schemeClr val="bg1"/>
                    </a:gs>
                  </a:gsLst>
                  <a:lin ang="5400000" scaled="0"/>
                </a:gra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55703916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74205205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9674214"/>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Content 2">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smtClean="0"/>
              <a:t>Click to edit Master text styles</a:t>
            </a:r>
          </a:p>
        </p:txBody>
      </p:sp>
    </p:spTree>
    <p:extLst>
      <p:ext uri="{BB962C8B-B14F-4D97-AF65-F5344CB8AC3E}">
        <p14:creationId xmlns:p14="http://schemas.microsoft.com/office/powerpoint/2010/main" val="390469933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553801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Content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336945881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74638" y="1697038"/>
            <a:ext cx="9144000" cy="849463"/>
          </a:xfrm>
        </p:spPr>
        <p:txBody>
          <a:bodyPr/>
          <a:lstStyle>
            <a:lvl1pPr marL="0" indent="0">
              <a:buNone/>
              <a:defRPr sz="4800"/>
            </a:lvl1pPr>
            <a:lvl2pPr>
              <a:defRPr sz="3600"/>
            </a:lvl2pPr>
            <a:lvl3pPr>
              <a:defRPr sz="3600"/>
            </a:lvl3pPr>
            <a:lvl4pPr>
              <a:defRPr sz="3600"/>
            </a:lvl4pPr>
            <a:lvl5pPr>
              <a:defRPr sz="3600"/>
            </a:lvl5pPr>
          </a:lstStyle>
          <a:p>
            <a:pPr lvl="0"/>
            <a:r>
              <a:rPr lang="en-US" dirty="0" smtClean="0"/>
              <a:t>Click to edit Master text styles</a:t>
            </a:r>
          </a:p>
        </p:txBody>
      </p:sp>
    </p:spTree>
    <p:extLst>
      <p:ext uri="{BB962C8B-B14F-4D97-AF65-F5344CB8AC3E}">
        <p14:creationId xmlns:p14="http://schemas.microsoft.com/office/powerpoint/2010/main" val="10066502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Teal">
    <p:bg bwMode="ltGray">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9144318" cy="5486366"/>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7307238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30887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89847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949047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2905202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583930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465355"/>
          </a:xfrm>
        </p:spPr>
        <p:txBody>
          <a:bodyPr/>
          <a:lstStyle>
            <a:lvl1pPr>
              <a:lnSpc>
                <a:spcPct val="90000"/>
              </a:lnSpc>
              <a:buSzPct val="100000"/>
              <a:buFont typeface="Arial" pitchFamily="34" charset="0"/>
              <a:buChar char="•"/>
              <a:defRPr>
                <a:solidFill>
                  <a:schemeClr val="bg1">
                    <a:lumMod val="75000"/>
                  </a:schemeClr>
                </a:solidFill>
              </a:defRPr>
            </a:lvl1pPr>
            <a:lvl2pPr algn="l" defTabSz="925121"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5121"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1134710"/>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718054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412409647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243058"/>
          </a:xfrm>
        </p:spPr>
        <p:txBody>
          <a:bodyPr/>
          <a:lstStyle>
            <a:lvl1pPr marL="0" indent="0">
              <a:buNone/>
              <a:defRPr sz="8975" i="0" spc="-102"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23182" y="3283255"/>
            <a:ext cx="7666298" cy="452022"/>
          </a:xfrm>
        </p:spPr>
        <p:txBody>
          <a:bodyPr/>
          <a:lstStyle>
            <a:lvl1pPr marL="0" indent="0">
              <a:buNone/>
              <a:defRPr spc="-102"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spTree>
    <p:extLst>
      <p:ext uri="{BB962C8B-B14F-4D97-AF65-F5344CB8AC3E}">
        <p14:creationId xmlns:p14="http://schemas.microsoft.com/office/powerpoint/2010/main" val="289344292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243058"/>
          </a:xfrm>
        </p:spPr>
        <p:txBody>
          <a:bodyPr/>
          <a:lstStyle>
            <a:lvl1pPr marL="0" indent="0">
              <a:buNone/>
              <a:defRPr sz="8975" i="0" spc="-102"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23182" y="3283255"/>
            <a:ext cx="7666298" cy="461111"/>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61944913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2.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image" Target="../media/image1.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heme" Target="../theme/theme2.xml"/><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image" Target="../media/image9.emf"/><Relationship Id="rId5" Type="http://schemas.openxmlformats.org/officeDocument/2006/relationships/slideLayout" Target="../slideLayouts/slideLayout71.xml"/><Relationship Id="rId10" Type="http://schemas.openxmlformats.org/officeDocument/2006/relationships/theme" Target="../theme/theme3.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theme" Target="../theme/theme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34" Type="http://schemas.openxmlformats.org/officeDocument/2006/relationships/theme" Target="../theme/theme7.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slideLayout" Target="../slideLayouts/slideLayout161.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image" Target="../media/image2.png"/><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31" Type="http://schemas.openxmlformats.org/officeDocument/2006/relationships/slideLayout" Target="../slideLayouts/slideLayout163.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image" Target="../media/image1.png"/><Relationship Id="rId8" Type="http://schemas.openxmlformats.org/officeDocument/2006/relationships/slideLayout" Target="../slideLayouts/slideLayout1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 id="2147484278" r:id="rId3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257524363"/>
      </p:ext>
    </p:extLst>
  </p:cSld>
  <p:clrMap bg1="dk1" tx1="lt1" bg2="dk2" tx2="lt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 id="2147484309" r:id="rId30"/>
    <p:sldLayoutId id="2147484310" r:id="rId31"/>
    <p:sldLayoutId id="2147484311" r:id="rId32"/>
    <p:sldLayoutId id="2147484312" r:id="rId33"/>
    <p:sldLayoutId id="2147484313" r:id="rId3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7"/>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0171B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2043" y="424788"/>
            <a:ext cx="11301996" cy="1351952"/>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72043" y="1914363"/>
            <a:ext cx="11301996" cy="42995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1"/>
          <a:stretch>
            <a:fillRect/>
          </a:stretch>
        </p:blipFill>
        <p:spPr>
          <a:xfrm>
            <a:off x="457629" y="-1954867"/>
            <a:ext cx="1955144" cy="1954867"/>
          </a:xfrm>
          <a:prstGeom prst="rect">
            <a:avLst/>
          </a:prstGeom>
        </p:spPr>
      </p:pic>
      <p:sp>
        <p:nvSpPr>
          <p:cNvPr id="8" name="Rectangle 7"/>
          <p:cNvSpPr/>
          <p:nvPr userDrawn="1"/>
        </p:nvSpPr>
        <p:spPr>
          <a:xfrm>
            <a:off x="2566627" y="-1325831"/>
            <a:ext cx="865425" cy="696798"/>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9" name="Rectangle 8"/>
          <p:cNvSpPr/>
          <p:nvPr userDrawn="1"/>
        </p:nvSpPr>
        <p:spPr>
          <a:xfrm>
            <a:off x="3537826" y="-1325831"/>
            <a:ext cx="865425" cy="696798"/>
          </a:xfrm>
          <a:prstGeom prst="rect">
            <a:avLst/>
          </a:prstGeom>
          <a:solidFill>
            <a:srgbClr val="80B9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0" name="Rectangle 9"/>
          <p:cNvSpPr/>
          <p:nvPr userDrawn="1"/>
        </p:nvSpPr>
        <p:spPr>
          <a:xfrm>
            <a:off x="4557105" y="-1325831"/>
            <a:ext cx="865425" cy="696798"/>
          </a:xfrm>
          <a:prstGeom prst="rect">
            <a:avLst/>
          </a:prstGeom>
          <a:solidFill>
            <a:srgbClr val="3C4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1" name="Rectangle 10"/>
          <p:cNvSpPr/>
          <p:nvPr userDrawn="1"/>
        </p:nvSpPr>
        <p:spPr>
          <a:xfrm>
            <a:off x="5509072" y="-1325831"/>
            <a:ext cx="865425" cy="696798"/>
          </a:xfrm>
          <a:prstGeom prst="rect">
            <a:avLst/>
          </a:prstGeom>
          <a:solidFill>
            <a:srgbClr val="E34F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2" name="Rectangle 11"/>
          <p:cNvSpPr/>
          <p:nvPr userDrawn="1"/>
        </p:nvSpPr>
        <p:spPr>
          <a:xfrm>
            <a:off x="6461038" y="-1325831"/>
            <a:ext cx="865425" cy="696798"/>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3" name="Rectangle 12"/>
          <p:cNvSpPr/>
          <p:nvPr userDrawn="1"/>
        </p:nvSpPr>
        <p:spPr>
          <a:xfrm>
            <a:off x="7451468" y="-1325831"/>
            <a:ext cx="865425" cy="696798"/>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4" name="Slide Number Placeholder 5"/>
          <p:cNvSpPr txBox="1">
            <a:spLocks/>
          </p:cNvSpPr>
          <p:nvPr userDrawn="1"/>
        </p:nvSpPr>
        <p:spPr>
          <a:xfrm>
            <a:off x="572043" y="6380761"/>
            <a:ext cx="2798207" cy="372394"/>
          </a:xfrm>
          <a:prstGeom prst="rect">
            <a:avLst/>
          </a:prstGeom>
        </p:spPr>
        <p:txBody>
          <a:bodyPr vert="horz" lIns="93260" tIns="46630" rIns="93260" bIns="46630" rtlCol="0" anchor="ctr"/>
          <a:lstStyle>
            <a:defPPr>
              <a:defRPr lang="en-US"/>
            </a:defPPr>
            <a:lvl1pPr marL="0" algn="r" defTabSz="914400" rtl="0" eaLnBrk="1" latinLnBrk="0" hangingPunct="1">
              <a:defRPr sz="2000" kern="1200">
                <a:solidFill>
                  <a:srgbClr val="289FD7"/>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040" dirty="0" smtClean="0"/>
              <a:t>Microsoft Azure</a:t>
            </a:r>
            <a:endParaRPr lang="en-US" sz="2040" dirty="0"/>
          </a:p>
        </p:txBody>
      </p:sp>
      <p:sp>
        <p:nvSpPr>
          <p:cNvPr id="15" name="Rectangle 14"/>
          <p:cNvSpPr/>
          <p:nvPr userDrawn="1"/>
        </p:nvSpPr>
        <p:spPr>
          <a:xfrm>
            <a:off x="1" y="0"/>
            <a:ext cx="125762" cy="6994525"/>
          </a:xfrm>
          <a:prstGeom prst="rect">
            <a:avLst/>
          </a:prstGeom>
          <a:solidFill>
            <a:srgbClr val="289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18" name="Slide Number Placeholder 17"/>
          <p:cNvSpPr>
            <a:spLocks noGrp="1"/>
          </p:cNvSpPr>
          <p:nvPr>
            <p:ph type="sldNum" sz="quarter" idx="4"/>
          </p:nvPr>
        </p:nvSpPr>
        <p:spPr>
          <a:xfrm>
            <a:off x="9075832" y="6399061"/>
            <a:ext cx="2798207" cy="372394"/>
          </a:xfrm>
          <a:prstGeom prst="rect">
            <a:avLst/>
          </a:prstGeom>
        </p:spPr>
        <p:txBody>
          <a:bodyPr vert="horz" lIns="91440" tIns="45720" rIns="91440" bIns="45720" rtlCol="0" anchor="ctr"/>
          <a:lstStyle>
            <a:lvl1pPr algn="r">
              <a:defRPr sz="2040">
                <a:solidFill>
                  <a:srgbClr val="289FD7"/>
                </a:solidFill>
                <a:latin typeface="+mj-lt"/>
              </a:defRPr>
            </a:lvl1pPr>
          </a:lstStyle>
          <a:p>
            <a:pPr defTabSz="932597"/>
            <a:fld id="{0D099E2A-118A-4377-8F98-2DF40BCBA9FE}" type="slidenum">
              <a:rPr lang="en-US" smtClean="0"/>
              <a:pPr defTabSz="932597"/>
              <a:t>‹#›</a:t>
            </a:fld>
            <a:endParaRPr lang="en-US" dirty="0"/>
          </a:p>
        </p:txBody>
      </p:sp>
    </p:spTree>
    <p:extLst>
      <p:ext uri="{BB962C8B-B14F-4D97-AF65-F5344CB8AC3E}">
        <p14:creationId xmlns:p14="http://schemas.microsoft.com/office/powerpoint/2010/main" val="1009002026"/>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Lst>
  <p:transition>
    <p:fade/>
  </p:transition>
  <p:timing>
    <p:tnLst>
      <p:par>
        <p:cTn id="1" dur="indefinite" restart="never" nodeType="tmRoot"/>
      </p:par>
    </p:tnLst>
  </p:timing>
  <p:hf hdr="0" ftr="0" dt="0"/>
  <p:txStyles>
    <p:titleStyle>
      <a:lvl1pPr algn="l" defTabSz="932597" rtl="0" eaLnBrk="1" latinLnBrk="0" hangingPunct="1">
        <a:lnSpc>
          <a:spcPct val="90000"/>
        </a:lnSpc>
        <a:spcBef>
          <a:spcPct val="0"/>
        </a:spcBef>
        <a:buNone/>
        <a:defRPr sz="5507" kern="1200">
          <a:solidFill>
            <a:schemeClr val="bg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3672" kern="1200">
          <a:solidFill>
            <a:schemeClr val="bg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3264" kern="1200">
          <a:solidFill>
            <a:schemeClr val="bg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856" kern="1200">
          <a:solidFill>
            <a:schemeClr val="bg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2448" kern="1200">
          <a:solidFill>
            <a:schemeClr val="bg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5758988"/>
      </p:ext>
    </p:extLst>
  </p:cSld>
  <p:clrMap bg1="dk1" tx1="lt1" bg2="dk2" tx2="lt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72204"/>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660" y="1476625"/>
            <a:ext cx="11375535" cy="2040374"/>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5167353"/>
      </p:ext>
    </p:extLst>
  </p:cSld>
  <p:clrMap bg1="dk1" tx1="lt1" bg2="dk2" tx2="lt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 id="2147484359" r:id="rId12"/>
    <p:sldLayoutId id="2147484360" r:id="rId13"/>
  </p:sldLayoutIdLst>
  <p:transition>
    <p:fade/>
  </p:transition>
  <p:timing>
    <p:tnLst>
      <p:par>
        <p:cTn id="1" dur="indefinite" restart="never" nodeType="tmRoot"/>
      </p:par>
    </p:tnLst>
  </p:timing>
  <p:txStyles>
    <p:titleStyle>
      <a:lvl1pPr algn="l" defTabSz="932443" rtl="0" eaLnBrk="1" latinLnBrk="0" hangingPunct="1">
        <a:lnSpc>
          <a:spcPct val="90000"/>
        </a:lnSpc>
        <a:spcBef>
          <a:spcPct val="0"/>
        </a:spcBef>
        <a:buNone/>
        <a:defRPr lang="en-US" sz="5609" b="0" kern="1200" cap="none" spc="-102"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52917" indent="-352917" algn="l" defTabSz="932443" rtl="0" eaLnBrk="1" latinLnBrk="0" hangingPunct="1">
        <a:lnSpc>
          <a:spcPct val="90000"/>
        </a:lnSpc>
        <a:spcBef>
          <a:spcPct val="20000"/>
        </a:spcBef>
        <a:buSzPct val="90000"/>
        <a:buFont typeface="Arial" pitchFamily="34" charset="0"/>
        <a:buChar char="•"/>
        <a:defRPr sz="3264"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42700" indent="-289782" algn="l" defTabSz="932443" rtl="0" eaLnBrk="1" latinLnBrk="0" hangingPunct="1">
        <a:lnSpc>
          <a:spcPct val="90000"/>
        </a:lnSpc>
        <a:spcBef>
          <a:spcPct val="20000"/>
        </a:spcBef>
        <a:buSzPct val="90000"/>
        <a:buFont typeface="Arial" pitchFamily="34" charset="0"/>
        <a:buChar char="•"/>
        <a:tabLst>
          <a:tab pos="642700" algn="l"/>
        </a:tabLst>
        <a:defRPr sz="2856"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32479" indent="-289782" algn="l" defTabSz="932443" rtl="0" eaLnBrk="1" latinLnBrk="0" hangingPunct="1">
        <a:lnSpc>
          <a:spcPct val="90000"/>
        </a:lnSpc>
        <a:spcBef>
          <a:spcPct val="20000"/>
        </a:spcBef>
        <a:buSzPct val="90000"/>
        <a:buFont typeface="Arial" pitchFamily="34" charset="0"/>
        <a:buChar char="•"/>
        <a:defRPr sz="2448"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512044" indent="-228264" algn="l" defTabSz="932443" rtl="0" eaLnBrk="1" latinLnBrk="0" hangingPunct="1">
        <a:lnSpc>
          <a:spcPct val="90000"/>
        </a:lnSpc>
        <a:spcBef>
          <a:spcPct val="20000"/>
        </a:spcBef>
        <a:buSzPct val="90000"/>
        <a:buFont typeface="Arial" pitchFamily="34" charset="0"/>
        <a:buChar char="•"/>
        <a:tabLst>
          <a:tab pos="932479" algn="l"/>
        </a:tabLst>
        <a:defRPr sz="204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46783" indent="-234740" algn="l" defTabSz="932443" rtl="0" eaLnBrk="1" latinLnBrk="0" hangingPunct="1">
        <a:lnSpc>
          <a:spcPct val="90000"/>
        </a:lnSpc>
        <a:spcBef>
          <a:spcPct val="20000"/>
        </a:spcBef>
        <a:buSzPct val="90000"/>
        <a:buFont typeface="Arial" pitchFamily="34" charset="0"/>
        <a:buChar char="•"/>
        <a:defRPr sz="204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64219" indent="-233111" algn="l" defTabSz="93244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438" indent="-233111" algn="l" defTabSz="93244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661" indent="-233111" algn="l" defTabSz="93244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882" indent="-233111" algn="l" defTabSz="93244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443" rtl="0" eaLnBrk="1" latinLnBrk="0" hangingPunct="1">
        <a:defRPr sz="1938" kern="1200">
          <a:solidFill>
            <a:schemeClr val="tx1"/>
          </a:solidFill>
          <a:latin typeface="+mn-lt"/>
          <a:ea typeface="+mn-ea"/>
          <a:cs typeface="+mn-cs"/>
        </a:defRPr>
      </a:lvl1pPr>
      <a:lvl2pPr marL="466222" algn="l" defTabSz="932443" rtl="0" eaLnBrk="1" latinLnBrk="0" hangingPunct="1">
        <a:defRPr sz="1938" kern="1200">
          <a:solidFill>
            <a:schemeClr val="tx1"/>
          </a:solidFill>
          <a:latin typeface="+mn-lt"/>
          <a:ea typeface="+mn-ea"/>
          <a:cs typeface="+mn-cs"/>
        </a:defRPr>
      </a:lvl2pPr>
      <a:lvl3pPr marL="932443" algn="l" defTabSz="932443" rtl="0" eaLnBrk="1" latinLnBrk="0" hangingPunct="1">
        <a:defRPr sz="1938" kern="1200">
          <a:solidFill>
            <a:schemeClr val="tx1"/>
          </a:solidFill>
          <a:latin typeface="+mn-lt"/>
          <a:ea typeface="+mn-ea"/>
          <a:cs typeface="+mn-cs"/>
        </a:defRPr>
      </a:lvl3pPr>
      <a:lvl4pPr marL="1398663" algn="l" defTabSz="932443" rtl="0" eaLnBrk="1" latinLnBrk="0" hangingPunct="1">
        <a:defRPr sz="1938" kern="1200">
          <a:solidFill>
            <a:schemeClr val="tx1"/>
          </a:solidFill>
          <a:latin typeface="+mn-lt"/>
          <a:ea typeface="+mn-ea"/>
          <a:cs typeface="+mn-cs"/>
        </a:defRPr>
      </a:lvl4pPr>
      <a:lvl5pPr marL="1864886" algn="l" defTabSz="932443" rtl="0" eaLnBrk="1" latinLnBrk="0" hangingPunct="1">
        <a:defRPr sz="1938" kern="1200">
          <a:solidFill>
            <a:schemeClr val="tx1"/>
          </a:solidFill>
          <a:latin typeface="+mn-lt"/>
          <a:ea typeface="+mn-ea"/>
          <a:cs typeface="+mn-cs"/>
        </a:defRPr>
      </a:lvl5pPr>
      <a:lvl6pPr marL="2331105" algn="l" defTabSz="932443" rtl="0" eaLnBrk="1" latinLnBrk="0" hangingPunct="1">
        <a:defRPr sz="1938" kern="1200">
          <a:solidFill>
            <a:schemeClr val="tx1"/>
          </a:solidFill>
          <a:latin typeface="+mn-lt"/>
          <a:ea typeface="+mn-ea"/>
          <a:cs typeface="+mn-cs"/>
        </a:defRPr>
      </a:lvl6pPr>
      <a:lvl7pPr marL="2797328" algn="l" defTabSz="932443" rtl="0" eaLnBrk="1" latinLnBrk="0" hangingPunct="1">
        <a:defRPr sz="1938" kern="1200">
          <a:solidFill>
            <a:schemeClr val="tx1"/>
          </a:solidFill>
          <a:latin typeface="+mn-lt"/>
          <a:ea typeface="+mn-ea"/>
          <a:cs typeface="+mn-cs"/>
        </a:defRPr>
      </a:lvl7pPr>
      <a:lvl8pPr marL="3263549" algn="l" defTabSz="932443" rtl="0" eaLnBrk="1" latinLnBrk="0" hangingPunct="1">
        <a:defRPr sz="1938" kern="1200">
          <a:solidFill>
            <a:schemeClr val="tx1"/>
          </a:solidFill>
          <a:latin typeface="+mn-lt"/>
          <a:ea typeface="+mn-ea"/>
          <a:cs typeface="+mn-cs"/>
        </a:defRPr>
      </a:lvl8pPr>
      <a:lvl9pPr marL="3729770" algn="l" defTabSz="932443" rtl="0" eaLnBrk="1" latinLnBrk="0" hangingPunct="1">
        <a:defRPr sz="193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9228842"/>
      </p:ext>
    </p:extLst>
  </p:cSld>
  <p:clrMap bg1="dk1" tx1="lt1" bg2="dk2" tx2="lt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 id="2147484381" r:id="rId20"/>
    <p:sldLayoutId id="2147484382" r:id="rId21"/>
    <p:sldLayoutId id="2147484383" r:id="rId22"/>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691403142"/>
      </p:ext>
    </p:extLst>
  </p:cSld>
  <p:clrMap bg1="dk1" tx1="lt1" bg2="dk2" tx2="lt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 id="2147484401" r:id="rId17"/>
    <p:sldLayoutId id="2147484402" r:id="rId18"/>
    <p:sldLayoutId id="2147484403" r:id="rId19"/>
    <p:sldLayoutId id="2147484404" r:id="rId20"/>
    <p:sldLayoutId id="2147484405" r:id="rId21"/>
    <p:sldLayoutId id="2147484406" r:id="rId22"/>
    <p:sldLayoutId id="2147484407" r:id="rId23"/>
    <p:sldLayoutId id="2147484408" r:id="rId24"/>
    <p:sldLayoutId id="2147484409" r:id="rId25"/>
    <p:sldLayoutId id="2147484410" r:id="rId26"/>
    <p:sldLayoutId id="2147484411" r:id="rId27"/>
    <p:sldLayoutId id="2147484412" r:id="rId28"/>
    <p:sldLayoutId id="2147484413" r:id="rId29"/>
    <p:sldLayoutId id="2147484414" r:id="rId30"/>
    <p:sldLayoutId id="2147484415" r:id="rId31"/>
    <p:sldLayoutId id="2147484416" r:id="rId32"/>
    <p:sldLayoutId id="2147484417"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86.xml"/><Relationship Id="rId6" Type="http://schemas.openxmlformats.org/officeDocument/2006/relationships/image" Target="../media/image27.png"/><Relationship Id="rId5" Type="http://schemas.openxmlformats.org/officeDocument/2006/relationships/image" Target="../media/image14.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4.png"/><Relationship Id="rId2" Type="http://schemas.openxmlformats.org/officeDocument/2006/relationships/slideLayout" Target="../slideLayouts/slideLayout86.xml"/><Relationship Id="rId1" Type="http://schemas.openxmlformats.org/officeDocument/2006/relationships/tags" Target="../tags/tag3.xml"/><Relationship Id="rId6" Type="http://schemas.openxmlformats.org/officeDocument/2006/relationships/image" Target="../media/image28.png"/><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26" Type="http://schemas.openxmlformats.org/officeDocument/2006/relationships/image" Target="../media/image60.png"/><Relationship Id="rId3" Type="http://schemas.openxmlformats.org/officeDocument/2006/relationships/image" Target="../media/image37.png"/><Relationship Id="rId21" Type="http://schemas.openxmlformats.org/officeDocument/2006/relationships/image" Target="../media/image55.pn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9.png"/><Relationship Id="rId2" Type="http://schemas.openxmlformats.org/officeDocument/2006/relationships/notesSlide" Target="../notesSlides/notesSlide13.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86.xml"/><Relationship Id="rId6" Type="http://schemas.openxmlformats.org/officeDocument/2006/relationships/image" Target="../media/image40.png"/><Relationship Id="rId11" Type="http://schemas.openxmlformats.org/officeDocument/2006/relationships/image" Target="../media/image45.png"/><Relationship Id="rId24" Type="http://schemas.openxmlformats.org/officeDocument/2006/relationships/image" Target="../media/image58.png"/><Relationship Id="rId5" Type="http://schemas.openxmlformats.org/officeDocument/2006/relationships/image" Target="../media/image39.png"/><Relationship Id="rId15" Type="http://schemas.openxmlformats.org/officeDocument/2006/relationships/image" Target="../media/image49.png"/><Relationship Id="rId23" Type="http://schemas.openxmlformats.org/officeDocument/2006/relationships/image" Target="../media/image57.png"/><Relationship Id="rId28" Type="http://schemas.openxmlformats.org/officeDocument/2006/relationships/image" Target="../media/image62.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6.xml"/><Relationship Id="rId1" Type="http://schemas.openxmlformats.org/officeDocument/2006/relationships/tags" Target="../tags/tag4.xml"/><Relationship Id="rId6" Type="http://schemas.openxmlformats.org/officeDocument/2006/relationships/image" Target="../media/image34.png"/><Relationship Id="rId5" Type="http://schemas.openxmlformats.org/officeDocument/2006/relationships/image" Target="../media/image28.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86.xml"/><Relationship Id="rId5" Type="http://schemas.openxmlformats.org/officeDocument/2006/relationships/image" Target="../media/image63.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64.emf"/><Relationship Id="rId7"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8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8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86.xml"/><Relationship Id="rId6" Type="http://schemas.openxmlformats.org/officeDocument/2006/relationships/image" Target="../media/image74.png"/><Relationship Id="rId5" Type="http://schemas.openxmlformats.org/officeDocument/2006/relationships/image" Target="../media/image75.png"/><Relationship Id="rId4" Type="http://schemas.openxmlformats.org/officeDocument/2006/relationships/image" Target="../media/image7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90.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4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9.xml"/><Relationship Id="rId6" Type="http://schemas.microsoft.com/office/2007/relationships/hdphoto" Target="../media/hdphoto2.wdp"/><Relationship Id="rId5" Type="http://schemas.openxmlformats.org/officeDocument/2006/relationships/image" Target="../media/image11.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46.xml"/></Relationships>
</file>

<file path=ppt/slides/_rels/slide31.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hyperlink" Target="http://www.microsoft.com/en-us/server-cloud/products/windows-azure-pack" TargetMode="External"/><Relationship Id="rId2" Type="http://schemas.openxmlformats.org/officeDocument/2006/relationships/notesSlide" Target="../notesSlides/notesSlide27.xml"/><Relationship Id="rId1" Type="http://schemas.openxmlformats.org/officeDocument/2006/relationships/slideLayout" Target="../slideLayouts/slideLayout32.xml"/><Relationship Id="rId6" Type="http://schemas.openxmlformats.org/officeDocument/2006/relationships/hyperlink" Target="http://technet.microsoft.com/en-US/evalcenter/dn205295" TargetMode="External"/><Relationship Id="rId5" Type="http://schemas.openxmlformats.org/officeDocument/2006/relationships/hyperlink" Target="http://azure.microsoft.com/en-us/" TargetMode="External"/><Relationship Id="rId4" Type="http://schemas.openxmlformats.org/officeDocument/2006/relationships/hyperlink" Target="http://technet.microsoft.com/en-US/evalcenter/dn205286"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78.png"/><Relationship Id="rId2" Type="http://schemas.openxmlformats.org/officeDocument/2006/relationships/notesSlide" Target="../notesSlides/notesSlide28.xml"/><Relationship Id="rId1" Type="http://schemas.openxmlformats.org/officeDocument/2006/relationships/slideLayout" Target="../slideLayouts/slideLayout151.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151.xml"/><Relationship Id="rId5" Type="http://schemas.openxmlformats.org/officeDocument/2006/relationships/image" Target="../media/image81.png"/><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151.xml"/><Relationship Id="rId4" Type="http://schemas.openxmlformats.org/officeDocument/2006/relationships/image" Target="../media/image83.png"/></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158.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1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90.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1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8038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65" y="115544"/>
            <a:ext cx="11887518" cy="553998"/>
          </a:xfrm>
        </p:spPr>
        <p:txBody>
          <a:bodyPr/>
          <a:lstStyle/>
          <a:p>
            <a:r>
              <a:rPr lang="en-US" sz="4000" dirty="0">
                <a:gradFill>
                  <a:gsLst>
                    <a:gs pos="1250">
                      <a:srgbClr val="008272"/>
                    </a:gs>
                    <a:gs pos="100000">
                      <a:srgbClr val="008272"/>
                    </a:gs>
                  </a:gsLst>
                  <a:lin ang="5400000" scaled="0"/>
                </a:gradFill>
                <a:latin typeface="Segoe UI Light"/>
                <a:cs typeface="Segoe UI" pitchFamily="34" charset="0"/>
              </a:rPr>
              <a:t>Cloud App </a:t>
            </a:r>
            <a:r>
              <a:rPr lang="en-US" sz="4000" dirty="0" smtClean="0">
                <a:gradFill>
                  <a:gsLst>
                    <a:gs pos="1250">
                      <a:srgbClr val="008272"/>
                    </a:gs>
                    <a:gs pos="100000">
                      <a:srgbClr val="008272"/>
                    </a:gs>
                  </a:gsLst>
                  <a:lin ang="5400000" scaled="0"/>
                </a:gradFill>
                <a:latin typeface="Segoe UI Light"/>
                <a:cs typeface="Segoe UI" pitchFamily="34" charset="0"/>
              </a:rPr>
              <a:t>Discovery</a:t>
            </a:r>
            <a:endParaRPr lang="en-US" dirty="0"/>
          </a:p>
        </p:txBody>
      </p:sp>
      <p:pic>
        <p:nvPicPr>
          <p:cNvPr id="4" name="Picture 3"/>
          <p:cNvPicPr>
            <a:picLocks noChangeAspect="1"/>
          </p:cNvPicPr>
          <p:nvPr/>
        </p:nvPicPr>
        <p:blipFill>
          <a:blip r:embed="rId2"/>
          <a:stretch>
            <a:fillRect/>
          </a:stretch>
        </p:blipFill>
        <p:spPr>
          <a:xfrm>
            <a:off x="232865" y="922111"/>
            <a:ext cx="5641580" cy="3170689"/>
          </a:xfrm>
          <a:prstGeom prst="rect">
            <a:avLst/>
          </a:prstGeom>
        </p:spPr>
      </p:pic>
      <p:pic>
        <p:nvPicPr>
          <p:cNvPr id="13" name="Picture 12"/>
          <p:cNvPicPr>
            <a:picLocks noChangeAspect="1"/>
          </p:cNvPicPr>
          <p:nvPr/>
        </p:nvPicPr>
        <p:blipFill>
          <a:blip r:embed="rId3"/>
          <a:stretch>
            <a:fillRect/>
          </a:stretch>
        </p:blipFill>
        <p:spPr>
          <a:xfrm>
            <a:off x="3676197" y="4186110"/>
            <a:ext cx="4704337" cy="2585982"/>
          </a:xfrm>
          <a:prstGeom prst="rect">
            <a:avLst/>
          </a:prstGeom>
        </p:spPr>
      </p:pic>
      <p:sp>
        <p:nvSpPr>
          <p:cNvPr id="15" name="Freeform 14"/>
          <p:cNvSpPr/>
          <p:nvPr/>
        </p:nvSpPr>
        <p:spPr bwMode="auto">
          <a:xfrm rot="8211482" flipH="1" flipV="1">
            <a:off x="8173678" y="4056198"/>
            <a:ext cx="1903146" cy="14738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p>
            <a:pPr algn="ctr" defTabSz="932503">
              <a:defRPr/>
            </a:pPr>
            <a:endParaRPr lang="en-US" kern="0" smtClean="0">
              <a:solidFill>
                <a:srgbClr val="EFEFEF"/>
              </a:solidFill>
            </a:endParaRPr>
          </a:p>
        </p:txBody>
      </p:sp>
      <p:grpSp>
        <p:nvGrpSpPr>
          <p:cNvPr id="3" name="Group 2"/>
          <p:cNvGrpSpPr/>
          <p:nvPr/>
        </p:nvGrpSpPr>
        <p:grpSpPr>
          <a:xfrm>
            <a:off x="5858941" y="1947381"/>
            <a:ext cx="2743200" cy="1023610"/>
            <a:chOff x="5491598" y="2579007"/>
            <a:chExt cx="2743200" cy="1023610"/>
          </a:xfrm>
        </p:grpSpPr>
        <p:sp>
          <p:nvSpPr>
            <p:cNvPr id="14" name="Freeform 13"/>
            <p:cNvSpPr/>
            <p:nvPr/>
          </p:nvSpPr>
          <p:spPr bwMode="auto">
            <a:xfrm flipH="1" flipV="1">
              <a:off x="5491598" y="2985138"/>
              <a:ext cx="2743200" cy="10581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p>
              <a:pPr algn="ctr" defTabSz="932503">
                <a:defRPr/>
              </a:pPr>
              <a:endParaRPr lang="en-US" kern="0" smtClean="0">
                <a:solidFill>
                  <a:srgbClr val="EFEFEF"/>
                </a:solidFill>
              </a:endParaRPr>
            </a:p>
          </p:txBody>
        </p:sp>
        <p:sp>
          <p:nvSpPr>
            <p:cNvPr id="16" name="Rectangle 15"/>
            <p:cNvSpPr/>
            <p:nvPr/>
          </p:nvSpPr>
          <p:spPr>
            <a:xfrm>
              <a:off x="6022890" y="2579007"/>
              <a:ext cx="1282722" cy="400110"/>
            </a:xfrm>
            <a:prstGeom prst="rect">
              <a:avLst/>
            </a:prstGeom>
            <a:noFill/>
          </p:spPr>
          <p:txBody>
            <a:bodyPr wrap="none" lIns="91440" tIns="45720" rIns="91440" bIns="45720">
              <a:spAutoFit/>
            </a:bodyPr>
            <a:lstStyle/>
            <a:p>
              <a:pPr algn="ctr"/>
              <a:r>
                <a:rPr lang="en-US" sz="2000" dirty="0" smtClean="0">
                  <a:ln w="0"/>
                  <a:solidFill>
                    <a:srgbClr val="00AEEF"/>
                  </a:solidFill>
                  <a:effectLst>
                    <a:outerShdw blurRad="38100" dist="25400" dir="5400000" algn="ctr" rotWithShape="0">
                      <a:srgbClr val="6E747A">
                        <a:alpha val="43000"/>
                      </a:srgbClr>
                    </a:outerShdw>
                  </a:effectLst>
                </a:rPr>
                <a:t>AD Agent</a:t>
              </a:r>
              <a:endParaRPr lang="en-US" sz="2000" dirty="0">
                <a:ln w="0"/>
                <a:solidFill>
                  <a:srgbClr val="00AEEF"/>
                </a:solidFill>
                <a:effectLst>
                  <a:outerShdw blurRad="38100" dist="25400" dir="5400000" algn="ctr" rotWithShape="0">
                    <a:srgbClr val="6E747A">
                      <a:alpha val="43000"/>
                    </a:srgbClr>
                  </a:outerShdw>
                </a:effectLst>
              </a:endParaRPr>
            </a:p>
          </p:txBody>
        </p:sp>
        <p:sp>
          <p:nvSpPr>
            <p:cNvPr id="17" name="Rectangle 16"/>
            <p:cNvSpPr/>
            <p:nvPr/>
          </p:nvSpPr>
          <p:spPr>
            <a:xfrm>
              <a:off x="6306621" y="3202507"/>
              <a:ext cx="715260" cy="400110"/>
            </a:xfrm>
            <a:prstGeom prst="rect">
              <a:avLst/>
            </a:prstGeom>
            <a:noFill/>
          </p:spPr>
          <p:txBody>
            <a:bodyPr wrap="none" lIns="91440" tIns="45720" rIns="91440" bIns="45720">
              <a:spAutoFit/>
            </a:bodyPr>
            <a:lstStyle/>
            <a:p>
              <a:pPr algn="ctr"/>
              <a:r>
                <a:rPr lang="en-US" sz="2000" dirty="0" smtClean="0">
                  <a:ln w="0"/>
                  <a:solidFill>
                    <a:srgbClr val="00AEEF"/>
                  </a:solidFill>
                  <a:effectLst>
                    <a:outerShdw blurRad="38100" dist="25400" dir="5400000" algn="ctr" rotWithShape="0">
                      <a:srgbClr val="6E747A">
                        <a:alpha val="43000"/>
                      </a:srgbClr>
                    </a:outerShdw>
                  </a:effectLst>
                </a:rPr>
                <a:t>Logs</a:t>
              </a:r>
              <a:endParaRPr lang="en-US" sz="2000" dirty="0">
                <a:ln w="0"/>
                <a:solidFill>
                  <a:srgbClr val="00AEEF"/>
                </a:solidFill>
                <a:effectLst>
                  <a:outerShdw blurRad="38100" dist="25400" dir="5400000" algn="ctr" rotWithShape="0">
                    <a:srgbClr val="6E747A">
                      <a:alpha val="43000"/>
                    </a:srgbClr>
                  </a:outerShdw>
                </a:effectLst>
              </a:endParaRPr>
            </a:p>
          </p:txBody>
        </p:sp>
      </p:grpSp>
      <p:grpSp>
        <p:nvGrpSpPr>
          <p:cNvPr id="5" name="Group 4"/>
          <p:cNvGrpSpPr/>
          <p:nvPr/>
        </p:nvGrpSpPr>
        <p:grpSpPr>
          <a:xfrm>
            <a:off x="8602141" y="1474237"/>
            <a:ext cx="3723257" cy="1821155"/>
            <a:chOff x="8169965" y="1977887"/>
            <a:chExt cx="4136655" cy="1895803"/>
          </a:xfrm>
        </p:grpSpPr>
        <p:grpSp>
          <p:nvGrpSpPr>
            <p:cNvPr id="6" name="Group 5"/>
            <p:cNvGrpSpPr/>
            <p:nvPr/>
          </p:nvGrpSpPr>
          <p:grpSpPr>
            <a:xfrm>
              <a:off x="8169965" y="1977887"/>
              <a:ext cx="4136655" cy="1895803"/>
              <a:chOff x="3384901" y="1919409"/>
              <a:chExt cx="5298373" cy="2469969"/>
            </a:xfrm>
          </p:grpSpPr>
          <p:sp>
            <p:nvSpPr>
              <p:cNvPr id="7" name="Freeform 128"/>
              <p:cNvSpPr>
                <a:spLocks noChangeAspect="1"/>
              </p:cNvSpPr>
              <p:nvPr/>
            </p:nvSpPr>
            <p:spPr bwMode="black">
              <a:xfrm>
                <a:off x="44919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rgbClr val="008272"/>
                </a:solidFill>
              </a:ln>
              <a:extLst/>
            </p:spPr>
            <p:txBody>
              <a:bodyPr vert="horz" wrap="square" lIns="91440" tIns="45720" rIns="91440" bIns="45720" numCol="1" anchor="t" anchorCtr="0" compatLnSpc="1">
                <a:prstTxWarp prst="textNoShape">
                  <a:avLst/>
                </a:prstTxWarp>
              </a:bodyPr>
              <a:lstStyle/>
              <a:p>
                <a:pPr defTabSz="932503">
                  <a:defRPr/>
                </a:pPr>
                <a:endParaRPr lang="en-US" kern="0" smtClean="0">
                  <a:solidFill>
                    <a:srgbClr val="505050"/>
                  </a:solidFill>
                </a:endParaRPr>
              </a:p>
            </p:txBody>
          </p:sp>
          <p:sp>
            <p:nvSpPr>
              <p:cNvPr id="8" name="Freeform 128"/>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rgbClr val="008272"/>
                </a:solidFill>
              </a:ln>
              <a:extLst/>
            </p:spPr>
            <p:txBody>
              <a:bodyPr vert="horz" wrap="square" lIns="91440" tIns="45720" rIns="91440" bIns="45720" numCol="1" anchor="t" anchorCtr="0" compatLnSpc="1">
                <a:prstTxWarp prst="textNoShape">
                  <a:avLst/>
                </a:prstTxWarp>
              </a:bodyPr>
              <a:lstStyle/>
              <a:p>
                <a:pPr defTabSz="932503">
                  <a:defRPr/>
                </a:pPr>
                <a:endParaRPr lang="en-US" kern="0" dirty="0" smtClean="0">
                  <a:solidFill>
                    <a:srgbClr val="505050"/>
                  </a:solidFill>
                </a:endParaRPr>
              </a:p>
            </p:txBody>
          </p:sp>
        </p:grpSp>
        <p:sp>
          <p:nvSpPr>
            <p:cNvPr id="9" name="Freeform 5"/>
            <p:cNvSpPr>
              <a:spLocks noEditPoints="1"/>
            </p:cNvSpPr>
            <p:nvPr/>
          </p:nvSpPr>
          <p:spPr bwMode="auto">
            <a:xfrm>
              <a:off x="9034317" y="2992132"/>
              <a:ext cx="1649515" cy="213130"/>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8" name="TextBox 17"/>
            <p:cNvSpPr txBox="1"/>
            <p:nvPr/>
          </p:nvSpPr>
          <p:spPr>
            <a:xfrm>
              <a:off x="9034317" y="3242015"/>
              <a:ext cx="1705082" cy="439479"/>
            </a:xfrm>
            <a:prstGeom prst="rect">
              <a:avLst/>
            </a:prstGeom>
            <a:noFill/>
          </p:spPr>
          <p:txBody>
            <a:bodyPr wrap="none" lIns="0" tIns="0" rIns="0" bIns="0" rtlCol="0">
              <a:spAutoFit/>
            </a:bodyPr>
            <a:lstStyle/>
            <a:p>
              <a:r>
                <a:rPr lang="en-US" sz="1428" dirty="0" smtClean="0">
                  <a:solidFill>
                    <a:srgbClr val="00AEEF"/>
                  </a:solidFill>
                  <a:latin typeface="Segoe Pro"/>
                </a:rPr>
                <a:t>Active </a:t>
              </a:r>
              <a:r>
                <a:rPr lang="en-US" sz="1428" dirty="0">
                  <a:solidFill>
                    <a:srgbClr val="00AEEF"/>
                  </a:solidFill>
                  <a:latin typeface="Segoe Pro"/>
                </a:rPr>
                <a:t>Directory</a:t>
              </a:r>
            </a:p>
            <a:p>
              <a:r>
                <a:rPr lang="en-US" sz="1428" dirty="0">
                  <a:solidFill>
                    <a:srgbClr val="00AEEF"/>
                  </a:solidFill>
                  <a:latin typeface="Segoe Pro"/>
                </a:rPr>
                <a:t>Cloud App Discovery</a:t>
              </a:r>
            </a:p>
          </p:txBody>
        </p:sp>
      </p:grpSp>
    </p:spTree>
    <p:extLst>
      <p:ext uri="{BB962C8B-B14F-4D97-AF65-F5344CB8AC3E}">
        <p14:creationId xmlns:p14="http://schemas.microsoft.com/office/powerpoint/2010/main" val="1482646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2" presetClass="entr" presetSubtype="4"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p:cNvPicPr>
            <a:picLocks noChangeAspect="1"/>
          </p:cNvPicPr>
          <p:nvPr/>
        </p:nvPicPr>
        <p:blipFill>
          <a:blip r:embed="rId2"/>
          <a:stretch>
            <a:fillRect/>
          </a:stretch>
        </p:blipFill>
        <p:spPr>
          <a:xfrm>
            <a:off x="83456" y="126290"/>
            <a:ext cx="12269563" cy="6741945"/>
          </a:xfrm>
          <a:prstGeom prst="rect">
            <a:avLst/>
          </a:prstGeom>
        </p:spPr>
      </p:pic>
    </p:spTree>
    <p:extLst>
      <p:ext uri="{BB962C8B-B14F-4D97-AF65-F5344CB8AC3E}">
        <p14:creationId xmlns:p14="http://schemas.microsoft.com/office/powerpoint/2010/main" val="69204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7" name="Group 106"/>
          <p:cNvGrpSpPr/>
          <p:nvPr/>
        </p:nvGrpSpPr>
        <p:grpSpPr>
          <a:xfrm>
            <a:off x="311465" y="1674123"/>
            <a:ext cx="11863821" cy="3185154"/>
            <a:chOff x="311501" y="1211263"/>
            <a:chExt cx="11890090" cy="4007991"/>
          </a:xfrm>
          <a:solidFill>
            <a:schemeClr val="bg1"/>
          </a:solidFill>
        </p:grpSpPr>
        <p:sp>
          <p:nvSpPr>
            <p:cNvPr id="103" name="Rectangle 102"/>
            <p:cNvSpPr/>
            <p:nvPr/>
          </p:nvSpPr>
          <p:spPr bwMode="auto">
            <a:xfrm>
              <a:off x="311501"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a:lnSpc>
                  <a:spcPct val="90000"/>
                </a:lnSpc>
                <a:spcBef>
                  <a:spcPct val="20000"/>
                </a:spcBef>
              </a:pPr>
              <a:r>
                <a:rPr lang="en-US" sz="2400" spc="-102" dirty="0" smtClean="0">
                  <a:gradFill>
                    <a:gsLst>
                      <a:gs pos="9167">
                        <a:srgbClr val="505050"/>
                      </a:gs>
                      <a:gs pos="100000">
                        <a:srgbClr val="505050"/>
                      </a:gs>
                    </a:gsLst>
                    <a:lin ang="5400000" scaled="0"/>
                  </a:gradFill>
                </a:rPr>
                <a:t>Your Directory on the cloud</a:t>
              </a:r>
              <a:endParaRPr lang="en-US" sz="2400" spc="-102" dirty="0">
                <a:gradFill>
                  <a:gsLst>
                    <a:gs pos="9167">
                      <a:srgbClr val="505050"/>
                    </a:gs>
                    <a:gs pos="100000">
                      <a:srgbClr val="505050"/>
                    </a:gs>
                  </a:gsLst>
                  <a:lin ang="5400000" scaled="0"/>
                </a:gradFill>
              </a:endParaRPr>
            </a:p>
          </p:txBody>
        </p:sp>
        <p:sp>
          <p:nvSpPr>
            <p:cNvPr id="104" name="Rectangle 103"/>
            <p:cNvSpPr/>
            <p:nvPr/>
          </p:nvSpPr>
          <p:spPr bwMode="auto">
            <a:xfrm>
              <a:off x="3300399"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400" spc="-102" dirty="0" smtClean="0">
                  <a:gradFill>
                    <a:gsLst>
                      <a:gs pos="9167">
                        <a:srgbClr val="505050"/>
                      </a:gs>
                      <a:gs pos="100000">
                        <a:srgbClr val="505050"/>
                      </a:gs>
                    </a:gsLst>
                    <a:lin ang="5400000" scaled="0"/>
                  </a:gradFill>
                </a:rPr>
                <a:t>Centrally managed identities and access.</a:t>
              </a:r>
              <a:endParaRPr lang="en-US" sz="2400" spc="-102" dirty="0">
                <a:gradFill>
                  <a:gsLst>
                    <a:gs pos="9167">
                      <a:srgbClr val="505050"/>
                    </a:gs>
                    <a:gs pos="100000">
                      <a:srgbClr val="505050"/>
                    </a:gs>
                  </a:gsLst>
                  <a:lin ang="5400000" scaled="0"/>
                </a:gradFill>
              </a:endParaRPr>
            </a:p>
          </p:txBody>
        </p:sp>
        <p:sp>
          <p:nvSpPr>
            <p:cNvPr id="105" name="Rectangle 104"/>
            <p:cNvSpPr/>
            <p:nvPr/>
          </p:nvSpPr>
          <p:spPr bwMode="auto">
            <a:xfrm>
              <a:off x="6289298"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a:lnSpc>
                  <a:spcPct val="90000"/>
                </a:lnSpc>
              </a:pPr>
              <a:r>
                <a:rPr lang="en-US" sz="2400" spc="-102" dirty="0">
                  <a:gradFill>
                    <a:gsLst>
                      <a:gs pos="9167">
                        <a:srgbClr val="505050"/>
                      </a:gs>
                      <a:gs pos="100000">
                        <a:srgbClr val="505050"/>
                      </a:gs>
                    </a:gsLst>
                    <a:lin ang="5400000" scaled="0"/>
                  </a:gradFill>
                </a:rPr>
                <a:t>Monitor and </a:t>
              </a:r>
              <a:r>
                <a:rPr lang="en-US" sz="2400" spc="-102" dirty="0" smtClean="0">
                  <a:gradFill>
                    <a:gsLst>
                      <a:gs pos="9167">
                        <a:srgbClr val="505050"/>
                      </a:gs>
                      <a:gs pos="100000">
                        <a:srgbClr val="505050"/>
                      </a:gs>
                    </a:gsLst>
                    <a:lin ang="5400000" scaled="0"/>
                  </a:gradFill>
                </a:rPr>
                <a:t>protect </a:t>
              </a:r>
              <a:r>
                <a:rPr lang="en-US" sz="2400" spc="-102" dirty="0">
                  <a:gradFill>
                    <a:gsLst>
                      <a:gs pos="9167">
                        <a:srgbClr val="505050"/>
                      </a:gs>
                      <a:gs pos="100000">
                        <a:srgbClr val="505050"/>
                      </a:gs>
                    </a:gsLst>
                    <a:lin ang="5400000" scaled="0"/>
                  </a:gradFill>
                </a:rPr>
                <a:t>access to </a:t>
              </a:r>
              <a:r>
                <a:rPr lang="en-US" sz="2400" spc="-102" dirty="0" smtClean="0">
                  <a:gradFill>
                    <a:gsLst>
                      <a:gs pos="9167">
                        <a:srgbClr val="505050"/>
                      </a:gs>
                      <a:gs pos="100000">
                        <a:srgbClr val="505050"/>
                      </a:gs>
                    </a:gsLst>
                    <a:lin ang="5400000" scaled="0"/>
                  </a:gradFill>
                </a:rPr>
                <a:t>cloud applications.</a:t>
              </a:r>
              <a:endParaRPr lang="en-US" sz="2400" spc="-102" dirty="0">
                <a:gradFill>
                  <a:gsLst>
                    <a:gs pos="9167">
                      <a:srgbClr val="505050"/>
                    </a:gs>
                    <a:gs pos="100000">
                      <a:srgbClr val="505050"/>
                    </a:gs>
                  </a:gsLst>
                  <a:lin ang="5400000" scaled="0"/>
                </a:gradFill>
              </a:endParaRPr>
            </a:p>
          </p:txBody>
        </p:sp>
        <p:sp>
          <p:nvSpPr>
            <p:cNvPr id="106" name="Rectangle 105"/>
            <p:cNvSpPr/>
            <p:nvPr/>
          </p:nvSpPr>
          <p:spPr bwMode="auto">
            <a:xfrm>
              <a:off x="9278196"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400" spc="-102" dirty="0" smtClean="0">
                  <a:gradFill>
                    <a:gsLst>
                      <a:gs pos="9167">
                        <a:srgbClr val="505050"/>
                      </a:gs>
                      <a:gs pos="100000">
                        <a:srgbClr val="505050"/>
                      </a:gs>
                    </a:gsLst>
                    <a:lin ang="5400000" scaled="0"/>
                  </a:gradFill>
                </a:rPr>
                <a:t>Empower Users</a:t>
              </a:r>
              <a:endParaRPr lang="en-US" sz="2400" spc="-102" dirty="0">
                <a:gradFill>
                  <a:gsLst>
                    <a:gs pos="9167">
                      <a:srgbClr val="505050"/>
                    </a:gs>
                    <a:gs pos="100000">
                      <a:srgbClr val="505050"/>
                    </a:gs>
                  </a:gsLst>
                  <a:lin ang="5400000" scaled="0"/>
                </a:gradFill>
              </a:endParaRPr>
            </a:p>
          </p:txBody>
        </p:sp>
      </p:grpSp>
      <p:sp>
        <p:nvSpPr>
          <p:cNvPr id="5" name="Rectangle 4"/>
          <p:cNvSpPr/>
          <p:nvPr/>
        </p:nvSpPr>
        <p:spPr bwMode="auto">
          <a:xfrm>
            <a:off x="0" y="0"/>
            <a:ext cx="12436474" cy="167412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p:txBody>
          <a:bodyPr/>
          <a:lstStyle/>
          <a:p>
            <a:r>
              <a:rPr lang="en-US" sz="4800" spc="-120" dirty="0" smtClean="0"/>
              <a:t>Windows Azure Active Directory usage scenarios</a:t>
            </a:r>
            <a:endParaRPr lang="en-US" sz="4800" spc="-120" dirty="0"/>
          </a:p>
        </p:txBody>
      </p:sp>
      <p:grpSp>
        <p:nvGrpSpPr>
          <p:cNvPr id="10" name="Group 9"/>
          <p:cNvGrpSpPr/>
          <p:nvPr/>
        </p:nvGrpSpPr>
        <p:grpSpPr>
          <a:xfrm>
            <a:off x="6287898" y="3296296"/>
            <a:ext cx="2879702" cy="2879702"/>
            <a:chOff x="6287898" y="3296296"/>
            <a:chExt cx="2879702" cy="2879702"/>
          </a:xfrm>
        </p:grpSpPr>
        <p:sp>
          <p:nvSpPr>
            <p:cNvPr id="99" name="Oval 98"/>
            <p:cNvSpPr/>
            <p:nvPr/>
          </p:nvSpPr>
          <p:spPr bwMode="auto">
            <a:xfrm>
              <a:off x="6287898"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18" name="Group 117"/>
            <p:cNvGrpSpPr/>
            <p:nvPr/>
          </p:nvGrpSpPr>
          <p:grpSpPr>
            <a:xfrm>
              <a:off x="6915494" y="3662037"/>
              <a:ext cx="1624511" cy="2148219"/>
              <a:chOff x="6947075" y="4069887"/>
              <a:chExt cx="1628108" cy="2152976"/>
            </a:xfrm>
          </p:grpSpPr>
          <p:sp>
            <p:nvSpPr>
              <p:cNvPr id="117" name="Freeform 30"/>
              <p:cNvSpPr>
                <a:spLocks noEditPoints="1"/>
              </p:cNvSpPr>
              <p:nvPr/>
            </p:nvSpPr>
            <p:spPr bwMode="auto">
              <a:xfrm>
                <a:off x="7187502" y="4069887"/>
                <a:ext cx="1188925" cy="151280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16" name="Group 115"/>
              <p:cNvGrpSpPr/>
              <p:nvPr/>
            </p:nvGrpSpPr>
            <p:grpSpPr>
              <a:xfrm>
                <a:off x="6947075" y="4826289"/>
                <a:ext cx="1628108" cy="1396574"/>
                <a:chOff x="6947075" y="4910697"/>
                <a:chExt cx="1628108" cy="1396574"/>
              </a:xfrm>
            </p:grpSpPr>
            <p:grpSp>
              <p:nvGrpSpPr>
                <p:cNvPr id="114" name="Group 113"/>
                <p:cNvGrpSpPr/>
                <p:nvPr/>
              </p:nvGrpSpPr>
              <p:grpSpPr>
                <a:xfrm>
                  <a:off x="6947075" y="4910697"/>
                  <a:ext cx="1628108" cy="1396574"/>
                  <a:chOff x="3504022" y="1725284"/>
                  <a:chExt cx="1628108" cy="1396574"/>
                </a:xfrm>
                <a:solidFill>
                  <a:srgbClr val="969696"/>
                </a:solidFill>
              </p:grpSpPr>
              <p:sp>
                <p:nvSpPr>
                  <p:cNvPr id="108" name="Freeform 741"/>
                  <p:cNvSpPr>
                    <a:spLocks/>
                  </p:cNvSpPr>
                  <p:nvPr/>
                </p:nvSpPr>
                <p:spPr bwMode="auto">
                  <a:xfrm>
                    <a:off x="4055756" y="2070117"/>
                    <a:ext cx="524640" cy="105174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09" name="Oval 742"/>
                  <p:cNvSpPr>
                    <a:spLocks noChangeArrowheads="1"/>
                  </p:cNvSpPr>
                  <p:nvPr/>
                </p:nvSpPr>
                <p:spPr bwMode="auto">
                  <a:xfrm>
                    <a:off x="4161669" y="1725284"/>
                    <a:ext cx="312813" cy="315276"/>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0" name="Freeform 743"/>
                  <p:cNvSpPr>
                    <a:spLocks/>
                  </p:cNvSpPr>
                  <p:nvPr/>
                </p:nvSpPr>
                <p:spPr bwMode="auto">
                  <a:xfrm>
                    <a:off x="4691235"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1" name="Oval 744"/>
                  <p:cNvSpPr>
                    <a:spLocks noChangeArrowheads="1"/>
                  </p:cNvSpPr>
                  <p:nvPr/>
                </p:nvSpPr>
                <p:spPr bwMode="auto">
                  <a:xfrm>
                    <a:off x="4777444"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2" name="Freeform 745"/>
                  <p:cNvSpPr>
                    <a:spLocks/>
                  </p:cNvSpPr>
                  <p:nvPr/>
                </p:nvSpPr>
                <p:spPr bwMode="auto">
                  <a:xfrm>
                    <a:off x="3504022"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3" name="Oval 746"/>
                  <p:cNvSpPr>
                    <a:spLocks noChangeArrowheads="1"/>
                  </p:cNvSpPr>
                  <p:nvPr/>
                </p:nvSpPr>
                <p:spPr bwMode="auto">
                  <a:xfrm>
                    <a:off x="3590230"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p:nvSpPr>
                <p:cNvPr id="115" name="Freeform 6"/>
                <p:cNvSpPr>
                  <a:spLocks noEditPoints="1"/>
                </p:cNvSpPr>
                <p:nvPr/>
              </p:nvSpPr>
              <p:spPr bwMode="auto">
                <a:xfrm>
                  <a:off x="7606110" y="5335509"/>
                  <a:ext cx="310038" cy="377382"/>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grpSp>
      </p:grpSp>
      <p:sp>
        <p:nvSpPr>
          <p:cNvPr id="100" name="Rectangle 99"/>
          <p:cNvSpPr/>
          <p:nvPr/>
        </p:nvSpPr>
        <p:spPr bwMode="auto">
          <a:xfrm>
            <a:off x="0" y="0"/>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6" name="Group 5"/>
          <p:cNvGrpSpPr/>
          <p:nvPr/>
        </p:nvGrpSpPr>
        <p:grpSpPr>
          <a:xfrm>
            <a:off x="325131" y="3296296"/>
            <a:ext cx="2880360" cy="2880360"/>
            <a:chOff x="325131" y="3296296"/>
            <a:chExt cx="2880360" cy="2880360"/>
          </a:xfrm>
        </p:grpSpPr>
        <p:grpSp>
          <p:nvGrpSpPr>
            <p:cNvPr id="119" name="Little icon"/>
            <p:cNvGrpSpPr/>
            <p:nvPr/>
          </p:nvGrpSpPr>
          <p:grpSpPr>
            <a:xfrm>
              <a:off x="325131" y="3296296"/>
              <a:ext cx="2880360" cy="2880360"/>
              <a:chOff x="325197" y="1727988"/>
              <a:chExt cx="2973200" cy="2973200"/>
            </a:xfrm>
          </p:grpSpPr>
          <p:sp>
            <p:nvSpPr>
              <p:cNvPr id="143" name="Oval 142"/>
              <p:cNvSpPr/>
              <p:nvPr/>
            </p:nvSpPr>
            <p:spPr bwMode="auto">
              <a:xfrm>
                <a:off x="325197" y="1727988"/>
                <a:ext cx="2973200" cy="297320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44" name="Group 4"/>
              <p:cNvGrpSpPr>
                <a:grpSpLocks noChangeAspect="1"/>
              </p:cNvGrpSpPr>
              <p:nvPr/>
            </p:nvGrpSpPr>
            <p:grpSpPr bwMode="auto">
              <a:xfrm>
                <a:off x="1262250" y="3396385"/>
                <a:ext cx="1099094" cy="1092159"/>
                <a:chOff x="399" y="1105"/>
                <a:chExt cx="1585" cy="1575"/>
              </a:xfrm>
              <a:solidFill>
                <a:srgbClr val="969696"/>
              </a:solidFill>
            </p:grpSpPr>
            <p:sp>
              <p:nvSpPr>
                <p:cNvPr id="157"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58"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59"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45" name="Group 144"/>
              <p:cNvGrpSpPr/>
              <p:nvPr/>
            </p:nvGrpSpPr>
            <p:grpSpPr>
              <a:xfrm>
                <a:off x="611422" y="3140584"/>
                <a:ext cx="451316" cy="522892"/>
                <a:chOff x="5394326" y="4936834"/>
                <a:chExt cx="720725" cy="835025"/>
              </a:xfrm>
              <a:solidFill>
                <a:schemeClr val="bg2"/>
              </a:solidFill>
            </p:grpSpPr>
            <p:sp>
              <p:nvSpPr>
                <p:cNvPr id="155"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56"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46" name="Freeform 6"/>
              <p:cNvSpPr>
                <a:spLocks noEditPoints="1"/>
              </p:cNvSpPr>
              <p:nvPr/>
            </p:nvSpPr>
            <p:spPr bwMode="auto">
              <a:xfrm>
                <a:off x="860455" y="2364204"/>
                <a:ext cx="391473" cy="476507"/>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147" name="Freeform 19"/>
              <p:cNvSpPr>
                <a:spLocks noEditPoints="1"/>
              </p:cNvSpPr>
              <p:nvPr/>
            </p:nvSpPr>
            <p:spPr bwMode="auto">
              <a:xfrm>
                <a:off x="1494275" y="2056005"/>
                <a:ext cx="638458" cy="525789"/>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49" name="Group 148"/>
              <p:cNvGrpSpPr/>
              <p:nvPr/>
            </p:nvGrpSpPr>
            <p:grpSpPr>
              <a:xfrm>
                <a:off x="1119447" y="2626822"/>
                <a:ext cx="1310504" cy="1158240"/>
                <a:chOff x="1119447" y="2626822"/>
                <a:chExt cx="1310504" cy="1158240"/>
              </a:xfrm>
            </p:grpSpPr>
            <p:cxnSp>
              <p:nvCxnSpPr>
                <p:cNvPr id="150" name="Straight Connector 149"/>
                <p:cNvCxnSpPr/>
                <p:nvPr/>
              </p:nvCxnSpPr>
              <p:spPr>
                <a:xfrm>
                  <a:off x="1119447" y="3619790"/>
                  <a:ext cx="286035" cy="165272"/>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313411" y="2909455"/>
                  <a:ext cx="365448" cy="543098"/>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1811797" y="2626822"/>
                  <a:ext cx="0" cy="714894"/>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1950863" y="2936786"/>
                  <a:ext cx="342418" cy="510201"/>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2186813" y="3616910"/>
                  <a:ext cx="243138" cy="149946"/>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26" name="Group 125"/>
            <p:cNvGrpSpPr/>
            <p:nvPr/>
          </p:nvGrpSpPr>
          <p:grpSpPr>
            <a:xfrm>
              <a:off x="2181675" y="3846256"/>
              <a:ext cx="582103" cy="540693"/>
              <a:chOff x="6038380" y="5079391"/>
              <a:chExt cx="1362360" cy="1265443"/>
            </a:xfrm>
            <a:solidFill>
              <a:srgbClr val="969696"/>
            </a:solidFill>
          </p:grpSpPr>
          <p:sp>
            <p:nvSpPr>
              <p:cNvPr id="134" name="Freeform 5"/>
              <p:cNvSpPr>
                <a:spLocks noEditPoints="1"/>
              </p:cNvSpPr>
              <p:nvPr/>
            </p:nvSpPr>
            <p:spPr bwMode="auto">
              <a:xfrm>
                <a:off x="6400916" y="5079391"/>
                <a:ext cx="999824" cy="698479"/>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35" name="Group 134"/>
              <p:cNvGrpSpPr/>
              <p:nvPr/>
            </p:nvGrpSpPr>
            <p:grpSpPr>
              <a:xfrm>
                <a:off x="6038380" y="5776778"/>
                <a:ext cx="856676" cy="568056"/>
                <a:chOff x="3067050" y="1341438"/>
                <a:chExt cx="6219826" cy="4124325"/>
              </a:xfrm>
              <a:grpFill/>
            </p:grpSpPr>
            <p:sp>
              <p:nvSpPr>
                <p:cNvPr id="140"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1"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2"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grpSp>
      <p:grpSp>
        <p:nvGrpSpPr>
          <p:cNvPr id="7" name="Group 6"/>
          <p:cNvGrpSpPr/>
          <p:nvPr/>
        </p:nvGrpSpPr>
        <p:grpSpPr>
          <a:xfrm>
            <a:off x="3306515" y="3296296"/>
            <a:ext cx="2879702" cy="2879702"/>
            <a:chOff x="3306515" y="3296296"/>
            <a:chExt cx="2879702" cy="2879702"/>
          </a:xfrm>
        </p:grpSpPr>
        <p:sp>
          <p:nvSpPr>
            <p:cNvPr id="75" name="Oval 74"/>
            <p:cNvSpPr/>
            <p:nvPr/>
          </p:nvSpPr>
          <p:spPr bwMode="auto">
            <a:xfrm>
              <a:off x="3306515"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 name="Group 7"/>
            <p:cNvGrpSpPr/>
            <p:nvPr/>
          </p:nvGrpSpPr>
          <p:grpSpPr>
            <a:xfrm>
              <a:off x="3540936" y="3771408"/>
              <a:ext cx="2548811" cy="1820108"/>
              <a:chOff x="-3017861" y="-1537339"/>
              <a:chExt cx="5138742" cy="3669579"/>
            </a:xfrm>
          </p:grpSpPr>
          <p:grpSp>
            <p:nvGrpSpPr>
              <p:cNvPr id="90" name="Group 89"/>
              <p:cNvGrpSpPr/>
              <p:nvPr/>
            </p:nvGrpSpPr>
            <p:grpSpPr>
              <a:xfrm>
                <a:off x="-3017861" y="-1537339"/>
                <a:ext cx="3450286" cy="1905991"/>
                <a:chOff x="6659010" y="1782633"/>
                <a:chExt cx="3450286" cy="1905991"/>
              </a:xfrm>
            </p:grpSpPr>
            <p:sp>
              <p:nvSpPr>
                <p:cNvPr id="137" name="Freeform 128"/>
                <p:cNvSpPr>
                  <a:spLocks noChangeAspect="1"/>
                </p:cNvSpPr>
                <p:nvPr/>
              </p:nvSpPr>
              <p:spPr bwMode="black">
                <a:xfrm>
                  <a:off x="6659010" y="1782633"/>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38" name="Group 137"/>
                <p:cNvGrpSpPr/>
                <p:nvPr/>
              </p:nvGrpSpPr>
              <p:grpSpPr>
                <a:xfrm>
                  <a:off x="7762465" y="2462445"/>
                  <a:ext cx="1255641" cy="740516"/>
                  <a:chOff x="6422815" y="-1271054"/>
                  <a:chExt cx="1289286" cy="760358"/>
                </a:xfrm>
              </p:grpSpPr>
              <p:grpSp>
                <p:nvGrpSpPr>
                  <p:cNvPr id="164" name="Group 163"/>
                  <p:cNvGrpSpPr/>
                  <p:nvPr/>
                </p:nvGrpSpPr>
                <p:grpSpPr>
                  <a:xfrm>
                    <a:off x="6422815" y="-1271054"/>
                    <a:ext cx="859524" cy="603121"/>
                    <a:chOff x="2078177" y="483467"/>
                    <a:chExt cx="8823325" cy="6191250"/>
                  </a:xfrm>
                  <a:solidFill>
                    <a:schemeClr val="tx2"/>
                  </a:solidFill>
                </p:grpSpPr>
                <p:sp>
                  <p:nvSpPr>
                    <p:cNvPr id="172"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3"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4"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5"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6"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65" name="Rectangle 164"/>
                  <p:cNvSpPr/>
                  <p:nvPr/>
                </p:nvSpPr>
                <p:spPr bwMode="auto">
                  <a:xfrm>
                    <a:off x="6867578" y="-1081533"/>
                    <a:ext cx="813474" cy="54807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66" name="Group 165"/>
                  <p:cNvGrpSpPr/>
                  <p:nvPr/>
                </p:nvGrpSpPr>
                <p:grpSpPr>
                  <a:xfrm>
                    <a:off x="6852577" y="-1113817"/>
                    <a:ext cx="859524" cy="603121"/>
                    <a:chOff x="2078177" y="483467"/>
                    <a:chExt cx="8823325" cy="6191250"/>
                  </a:xfrm>
                  <a:solidFill>
                    <a:schemeClr val="tx2"/>
                  </a:solidFill>
                </p:grpSpPr>
                <p:sp>
                  <p:nvSpPr>
                    <p:cNvPr id="167"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8"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9"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0"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1"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139" name="TextBox 138"/>
                <p:cNvSpPr txBox="1"/>
                <p:nvPr/>
              </p:nvSpPr>
              <p:spPr>
                <a:xfrm>
                  <a:off x="7101986" y="3297435"/>
                  <a:ext cx="2333406" cy="194573"/>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700" b="1" dirty="0" smtClean="0">
                      <a:gradFill>
                        <a:gsLst>
                          <a:gs pos="21429">
                            <a:srgbClr val="EFEFEF">
                              <a:lumMod val="50000"/>
                            </a:srgbClr>
                          </a:gs>
                          <a:gs pos="42000">
                            <a:srgbClr val="EFEFEF">
                              <a:lumMod val="50000"/>
                            </a:srgbClr>
                          </a:gs>
                        </a:gsLst>
                        <a:lin ang="5400000" scaled="0"/>
                      </a:gradFill>
                    </a:rPr>
                    <a:t>SaaS apps</a:t>
                  </a:r>
                  <a:endParaRPr lang="en-US" sz="700" b="1" dirty="0">
                    <a:gradFill>
                      <a:gsLst>
                        <a:gs pos="21429">
                          <a:srgbClr val="EFEFEF">
                            <a:lumMod val="50000"/>
                          </a:srgbClr>
                        </a:gs>
                        <a:gs pos="42000">
                          <a:srgbClr val="EFEFEF">
                            <a:lumMod val="50000"/>
                          </a:srgbClr>
                        </a:gs>
                      </a:gsLst>
                      <a:lin ang="5400000" scaled="0"/>
                    </a:gradFill>
                  </a:endParaRPr>
                </a:p>
              </p:txBody>
            </p:sp>
          </p:grpSp>
          <p:grpSp>
            <p:nvGrpSpPr>
              <p:cNvPr id="177" name="Group 176"/>
              <p:cNvGrpSpPr/>
              <p:nvPr/>
            </p:nvGrpSpPr>
            <p:grpSpPr>
              <a:xfrm>
                <a:off x="-1329405" y="-584344"/>
                <a:ext cx="3450286" cy="1905991"/>
                <a:chOff x="8347466" y="2735628"/>
                <a:chExt cx="3450286" cy="1905991"/>
              </a:xfrm>
            </p:grpSpPr>
            <p:sp>
              <p:nvSpPr>
                <p:cNvPr id="178" name="Freeform 128"/>
                <p:cNvSpPr>
                  <a:spLocks noChangeAspect="1"/>
                </p:cNvSpPr>
                <p:nvPr/>
              </p:nvSpPr>
              <p:spPr bwMode="black">
                <a:xfrm>
                  <a:off x="8347466" y="2735628"/>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79" name="Group 4"/>
                <p:cNvGrpSpPr>
                  <a:grpSpLocks noChangeAspect="1"/>
                </p:cNvGrpSpPr>
                <p:nvPr/>
              </p:nvGrpSpPr>
              <p:grpSpPr bwMode="auto">
                <a:xfrm>
                  <a:off x="9257354" y="3099992"/>
                  <a:ext cx="1336517" cy="1328090"/>
                  <a:chOff x="3125" y="1415"/>
                  <a:chExt cx="1586" cy="1576"/>
                </a:xfrm>
                <a:solidFill>
                  <a:srgbClr val="00188F"/>
                </a:solidFill>
              </p:grpSpPr>
              <p:sp>
                <p:nvSpPr>
                  <p:cNvPr id="18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8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8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grpSp>
          </p:grpSp>
          <p:sp>
            <p:nvSpPr>
              <p:cNvPr id="183" name="Freeform 23"/>
              <p:cNvSpPr>
                <a:spLocks/>
              </p:cNvSpPr>
              <p:nvPr/>
            </p:nvSpPr>
            <p:spPr bwMode="auto">
              <a:xfrm>
                <a:off x="-947774" y="446257"/>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87" name="Freeform 23"/>
              <p:cNvSpPr>
                <a:spLocks/>
              </p:cNvSpPr>
              <p:nvPr/>
            </p:nvSpPr>
            <p:spPr bwMode="auto">
              <a:xfrm>
                <a:off x="-2607076" y="-540826"/>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7" name="Freeform 13"/>
              <p:cNvSpPr>
                <a:spLocks noEditPoints="1"/>
              </p:cNvSpPr>
              <p:nvPr/>
            </p:nvSpPr>
            <p:spPr bwMode="auto">
              <a:xfrm>
                <a:off x="-2921027" y="721195"/>
                <a:ext cx="921540" cy="1411045"/>
              </a:xfrm>
              <a:custGeom>
                <a:avLst/>
                <a:gdLst>
                  <a:gd name="T0" fmla="*/ 748 w 1360"/>
                  <a:gd name="T1" fmla="*/ 1276 h 2085"/>
                  <a:gd name="T2" fmla="*/ 204 w 1360"/>
                  <a:gd name="T3" fmla="*/ 1276 h 2085"/>
                  <a:gd name="T4" fmla="*/ 561 w 1360"/>
                  <a:gd name="T5" fmla="*/ 587 h 2085"/>
                  <a:gd name="T6" fmla="*/ 680 w 1360"/>
                  <a:gd name="T7" fmla="*/ 927 h 2085"/>
                  <a:gd name="T8" fmla="*/ 748 w 1360"/>
                  <a:gd name="T9" fmla="*/ 978 h 2085"/>
                  <a:gd name="T10" fmla="*/ 1284 w 1360"/>
                  <a:gd name="T11" fmla="*/ 978 h 2085"/>
                  <a:gd name="T12" fmla="*/ 1360 w 1360"/>
                  <a:gd name="T13" fmla="*/ 902 h 2085"/>
                  <a:gd name="T14" fmla="*/ 1284 w 1360"/>
                  <a:gd name="T15" fmla="*/ 834 h 2085"/>
                  <a:gd name="T16" fmla="*/ 799 w 1360"/>
                  <a:gd name="T17" fmla="*/ 834 h 2085"/>
                  <a:gd name="T18" fmla="*/ 654 w 1360"/>
                  <a:gd name="T19" fmla="*/ 425 h 2085"/>
                  <a:gd name="T20" fmla="*/ 646 w 1360"/>
                  <a:gd name="T21" fmla="*/ 417 h 2085"/>
                  <a:gd name="T22" fmla="*/ 637 w 1360"/>
                  <a:gd name="T23" fmla="*/ 400 h 2085"/>
                  <a:gd name="T24" fmla="*/ 501 w 1360"/>
                  <a:gd name="T25" fmla="*/ 383 h 2085"/>
                  <a:gd name="T26" fmla="*/ 0 w 1360"/>
                  <a:gd name="T27" fmla="*/ 1370 h 2085"/>
                  <a:gd name="T28" fmla="*/ 34 w 1360"/>
                  <a:gd name="T29" fmla="*/ 1438 h 2085"/>
                  <a:gd name="T30" fmla="*/ 102 w 1360"/>
                  <a:gd name="T31" fmla="*/ 1472 h 2085"/>
                  <a:gd name="T32" fmla="*/ 654 w 1360"/>
                  <a:gd name="T33" fmla="*/ 1472 h 2085"/>
                  <a:gd name="T34" fmla="*/ 654 w 1360"/>
                  <a:gd name="T35" fmla="*/ 1991 h 2085"/>
                  <a:gd name="T36" fmla="*/ 748 w 1360"/>
                  <a:gd name="T37" fmla="*/ 2085 h 2085"/>
                  <a:gd name="T38" fmla="*/ 841 w 1360"/>
                  <a:gd name="T39" fmla="*/ 1991 h 2085"/>
                  <a:gd name="T40" fmla="*/ 841 w 1360"/>
                  <a:gd name="T41" fmla="*/ 1370 h 2085"/>
                  <a:gd name="T42" fmla="*/ 748 w 1360"/>
                  <a:gd name="T43" fmla="*/ 1276 h 2085"/>
                  <a:gd name="T44" fmla="*/ 841 w 1360"/>
                  <a:gd name="T45" fmla="*/ 0 h 2085"/>
                  <a:gd name="T46" fmla="*/ 1054 w 1360"/>
                  <a:gd name="T47" fmla="*/ 213 h 2085"/>
                  <a:gd name="T48" fmla="*/ 841 w 1360"/>
                  <a:gd name="T49" fmla="*/ 425 h 2085"/>
                  <a:gd name="T50" fmla="*/ 637 w 1360"/>
                  <a:gd name="T51" fmla="*/ 213 h 2085"/>
                  <a:gd name="T52" fmla="*/ 841 w 1360"/>
                  <a:gd name="T53" fmla="*/ 0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0"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02" name="Freeform 9"/>
              <p:cNvSpPr>
                <a:spLocks noEditPoints="1"/>
              </p:cNvSpPr>
              <p:nvPr/>
            </p:nvSpPr>
            <p:spPr bwMode="auto">
              <a:xfrm>
                <a:off x="-2162244" y="780650"/>
                <a:ext cx="593034" cy="705128"/>
              </a:xfrm>
              <a:custGeom>
                <a:avLst/>
                <a:gdLst>
                  <a:gd name="T0" fmla="*/ 323 w 824"/>
                  <a:gd name="T1" fmla="*/ 885 h 979"/>
                  <a:gd name="T2" fmla="*/ 50 w 824"/>
                  <a:gd name="T3" fmla="*/ 885 h 979"/>
                  <a:gd name="T4" fmla="*/ 0 w 824"/>
                  <a:gd name="T5" fmla="*/ 928 h 979"/>
                  <a:gd name="T6" fmla="*/ 50 w 824"/>
                  <a:gd name="T7" fmla="*/ 979 h 979"/>
                  <a:gd name="T8" fmla="*/ 323 w 824"/>
                  <a:gd name="T9" fmla="*/ 979 h 979"/>
                  <a:gd name="T10" fmla="*/ 373 w 824"/>
                  <a:gd name="T11" fmla="*/ 928 h 979"/>
                  <a:gd name="T12" fmla="*/ 323 w 824"/>
                  <a:gd name="T13" fmla="*/ 885 h 979"/>
                  <a:gd name="T14" fmla="*/ 629 w 824"/>
                  <a:gd name="T15" fmla="*/ 587 h 979"/>
                  <a:gd name="T16" fmla="*/ 612 w 824"/>
                  <a:gd name="T17" fmla="*/ 562 h 979"/>
                  <a:gd name="T18" fmla="*/ 824 w 824"/>
                  <a:gd name="T19" fmla="*/ 60 h 979"/>
                  <a:gd name="T20" fmla="*/ 697 w 824"/>
                  <a:gd name="T21" fmla="*/ 0 h 979"/>
                  <a:gd name="T22" fmla="*/ 373 w 824"/>
                  <a:gd name="T23" fmla="*/ 740 h 979"/>
                  <a:gd name="T24" fmla="*/ 510 w 824"/>
                  <a:gd name="T25" fmla="*/ 791 h 979"/>
                  <a:gd name="T26" fmla="*/ 561 w 824"/>
                  <a:gd name="T27" fmla="*/ 672 h 979"/>
                  <a:gd name="T28" fmla="*/ 663 w 824"/>
                  <a:gd name="T29" fmla="*/ 885 h 979"/>
                  <a:gd name="T30" fmla="*/ 518 w 824"/>
                  <a:gd name="T31" fmla="*/ 885 h 979"/>
                  <a:gd name="T32" fmla="*/ 467 w 824"/>
                  <a:gd name="T33" fmla="*/ 928 h 979"/>
                  <a:gd name="T34" fmla="*/ 518 w 824"/>
                  <a:gd name="T35" fmla="*/ 979 h 979"/>
                  <a:gd name="T36" fmla="*/ 739 w 824"/>
                  <a:gd name="T37" fmla="*/ 979 h 979"/>
                  <a:gd name="T38" fmla="*/ 782 w 824"/>
                  <a:gd name="T39" fmla="*/ 962 h 979"/>
                  <a:gd name="T40" fmla="*/ 782 w 824"/>
                  <a:gd name="T41" fmla="*/ 911 h 979"/>
                  <a:gd name="T42" fmla="*/ 629 w 824"/>
                  <a:gd name="T43" fmla="*/ 587 h 979"/>
                  <a:gd name="T44" fmla="*/ 629 w 824"/>
                  <a:gd name="T45" fmla="*/ 587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4" h="979">
                    <a:moveTo>
                      <a:pt x="323" y="885"/>
                    </a:moveTo>
                    <a:cubicBezTo>
                      <a:pt x="50" y="885"/>
                      <a:pt x="50" y="885"/>
                      <a:pt x="50" y="885"/>
                    </a:cubicBezTo>
                    <a:cubicBezTo>
                      <a:pt x="25" y="885"/>
                      <a:pt x="0" y="902"/>
                      <a:pt x="0" y="928"/>
                    </a:cubicBezTo>
                    <a:cubicBezTo>
                      <a:pt x="0" y="962"/>
                      <a:pt x="25" y="979"/>
                      <a:pt x="50" y="979"/>
                    </a:cubicBezTo>
                    <a:cubicBezTo>
                      <a:pt x="323" y="979"/>
                      <a:pt x="323" y="979"/>
                      <a:pt x="323" y="979"/>
                    </a:cubicBezTo>
                    <a:cubicBezTo>
                      <a:pt x="348" y="979"/>
                      <a:pt x="373" y="962"/>
                      <a:pt x="373" y="928"/>
                    </a:cubicBezTo>
                    <a:cubicBezTo>
                      <a:pt x="373" y="902"/>
                      <a:pt x="348" y="885"/>
                      <a:pt x="323" y="885"/>
                    </a:cubicBezTo>
                    <a:close/>
                    <a:moveTo>
                      <a:pt x="629" y="587"/>
                    </a:moveTo>
                    <a:cubicBezTo>
                      <a:pt x="620" y="579"/>
                      <a:pt x="620" y="570"/>
                      <a:pt x="612" y="562"/>
                    </a:cubicBezTo>
                    <a:cubicBezTo>
                      <a:pt x="824" y="60"/>
                      <a:pt x="824" y="60"/>
                      <a:pt x="824" y="60"/>
                    </a:cubicBezTo>
                    <a:cubicBezTo>
                      <a:pt x="697" y="0"/>
                      <a:pt x="697" y="0"/>
                      <a:pt x="697" y="0"/>
                    </a:cubicBezTo>
                    <a:cubicBezTo>
                      <a:pt x="373" y="740"/>
                      <a:pt x="373" y="740"/>
                      <a:pt x="373" y="740"/>
                    </a:cubicBezTo>
                    <a:cubicBezTo>
                      <a:pt x="510" y="791"/>
                      <a:pt x="510" y="791"/>
                      <a:pt x="510" y="791"/>
                    </a:cubicBezTo>
                    <a:cubicBezTo>
                      <a:pt x="561" y="672"/>
                      <a:pt x="561" y="672"/>
                      <a:pt x="561" y="672"/>
                    </a:cubicBezTo>
                    <a:cubicBezTo>
                      <a:pt x="663" y="885"/>
                      <a:pt x="663" y="885"/>
                      <a:pt x="663" y="885"/>
                    </a:cubicBezTo>
                    <a:cubicBezTo>
                      <a:pt x="518" y="885"/>
                      <a:pt x="518" y="885"/>
                      <a:pt x="518" y="885"/>
                    </a:cubicBezTo>
                    <a:cubicBezTo>
                      <a:pt x="493" y="885"/>
                      <a:pt x="467" y="902"/>
                      <a:pt x="467" y="928"/>
                    </a:cubicBezTo>
                    <a:cubicBezTo>
                      <a:pt x="467" y="962"/>
                      <a:pt x="493" y="979"/>
                      <a:pt x="518" y="979"/>
                    </a:cubicBezTo>
                    <a:cubicBezTo>
                      <a:pt x="739" y="979"/>
                      <a:pt x="739" y="979"/>
                      <a:pt x="739" y="979"/>
                    </a:cubicBezTo>
                    <a:cubicBezTo>
                      <a:pt x="756" y="979"/>
                      <a:pt x="773" y="970"/>
                      <a:pt x="782" y="962"/>
                    </a:cubicBezTo>
                    <a:cubicBezTo>
                      <a:pt x="790" y="945"/>
                      <a:pt x="790" y="928"/>
                      <a:pt x="782" y="911"/>
                    </a:cubicBezTo>
                    <a:cubicBezTo>
                      <a:pt x="629" y="587"/>
                      <a:pt x="629" y="587"/>
                      <a:pt x="629" y="587"/>
                    </a:cubicBezTo>
                    <a:cubicBezTo>
                      <a:pt x="629" y="587"/>
                      <a:pt x="629" y="587"/>
                      <a:pt x="629" y="58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grpSp>
        <p:nvGrpSpPr>
          <p:cNvPr id="14" name="Group 13"/>
          <p:cNvGrpSpPr/>
          <p:nvPr/>
        </p:nvGrpSpPr>
        <p:grpSpPr>
          <a:xfrm>
            <a:off x="9251849" y="3296296"/>
            <a:ext cx="2897135" cy="2879702"/>
            <a:chOff x="9251849" y="3296296"/>
            <a:chExt cx="2897135" cy="2879702"/>
          </a:xfrm>
        </p:grpSpPr>
        <p:sp>
          <p:nvSpPr>
            <p:cNvPr id="101" name="Oval 100"/>
            <p:cNvSpPr/>
            <p:nvPr/>
          </p:nvSpPr>
          <p:spPr bwMode="auto">
            <a:xfrm>
              <a:off x="9269282" y="3296296"/>
              <a:ext cx="2879702" cy="2879702"/>
            </a:xfrm>
            <a:prstGeom prst="ellipse">
              <a:avLst/>
            </a:prstGeom>
            <a:solidFill>
              <a:srgbClr val="FFFFFF"/>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20" name="Rectangle 119"/>
            <p:cNvSpPr/>
            <p:nvPr/>
          </p:nvSpPr>
          <p:spPr bwMode="auto">
            <a:xfrm>
              <a:off x="9477251" y="3670938"/>
              <a:ext cx="2480345" cy="341552"/>
            </a:xfrm>
            <a:custGeom>
              <a:avLst/>
              <a:gdLst>
                <a:gd name="connsiteX0" fmla="*/ 0 w 2820374"/>
                <a:gd name="connsiteY0" fmla="*/ 0 h 355689"/>
                <a:gd name="connsiteX1" fmla="*/ 2820374 w 2820374"/>
                <a:gd name="connsiteY1" fmla="*/ 0 h 355689"/>
                <a:gd name="connsiteX2" fmla="*/ 2820374 w 2820374"/>
                <a:gd name="connsiteY2" fmla="*/ 355689 h 355689"/>
                <a:gd name="connsiteX3" fmla="*/ 0 w 2820374"/>
                <a:gd name="connsiteY3" fmla="*/ 355689 h 355689"/>
                <a:gd name="connsiteX4" fmla="*/ 0 w 2820374"/>
                <a:gd name="connsiteY4" fmla="*/ 0 h 355689"/>
                <a:gd name="connsiteX0" fmla="*/ 432667 w 2820374"/>
                <a:gd name="connsiteY0" fmla="*/ 8921 h 355689"/>
                <a:gd name="connsiteX1" fmla="*/ 2820374 w 2820374"/>
                <a:gd name="connsiteY1" fmla="*/ 0 h 355689"/>
                <a:gd name="connsiteX2" fmla="*/ 2820374 w 2820374"/>
                <a:gd name="connsiteY2" fmla="*/ 355689 h 355689"/>
                <a:gd name="connsiteX3" fmla="*/ 0 w 2820374"/>
                <a:gd name="connsiteY3" fmla="*/ 355689 h 355689"/>
                <a:gd name="connsiteX4" fmla="*/ 432667 w 2820374"/>
                <a:gd name="connsiteY4" fmla="*/ 8921 h 355689"/>
                <a:gd name="connsiteX0" fmla="*/ 276550 w 2664257"/>
                <a:gd name="connsiteY0" fmla="*/ 8921 h 355689"/>
                <a:gd name="connsiteX1" fmla="*/ 2664257 w 2664257"/>
                <a:gd name="connsiteY1" fmla="*/ 0 h 355689"/>
                <a:gd name="connsiteX2" fmla="*/ 2664257 w 2664257"/>
                <a:gd name="connsiteY2" fmla="*/ 355689 h 355689"/>
                <a:gd name="connsiteX3" fmla="*/ 0 w 2664257"/>
                <a:gd name="connsiteY3" fmla="*/ 346768 h 355689"/>
                <a:gd name="connsiteX4" fmla="*/ 276550 w 2664257"/>
                <a:gd name="connsiteY4" fmla="*/ 8921 h 355689"/>
                <a:gd name="connsiteX0" fmla="*/ 276550 w 2664257"/>
                <a:gd name="connsiteY0" fmla="*/ 4461 h 351229"/>
                <a:gd name="connsiteX1" fmla="*/ 2213747 w 2664257"/>
                <a:gd name="connsiteY1" fmla="*/ 0 h 351229"/>
                <a:gd name="connsiteX2" fmla="*/ 2664257 w 2664257"/>
                <a:gd name="connsiteY2" fmla="*/ 351229 h 351229"/>
                <a:gd name="connsiteX3" fmla="*/ 0 w 2664257"/>
                <a:gd name="connsiteY3" fmla="*/ 342308 h 351229"/>
                <a:gd name="connsiteX4" fmla="*/ 276550 w 2664257"/>
                <a:gd name="connsiteY4" fmla="*/ 4461 h 351229"/>
                <a:gd name="connsiteX0" fmla="*/ 276550 w 2485837"/>
                <a:gd name="connsiteY0" fmla="*/ 4461 h 346768"/>
                <a:gd name="connsiteX1" fmla="*/ 2213747 w 2485837"/>
                <a:gd name="connsiteY1" fmla="*/ 0 h 346768"/>
                <a:gd name="connsiteX2" fmla="*/ 2485837 w 2485837"/>
                <a:gd name="connsiteY2" fmla="*/ 346768 h 346768"/>
                <a:gd name="connsiteX3" fmla="*/ 0 w 2485837"/>
                <a:gd name="connsiteY3" fmla="*/ 342308 h 346768"/>
                <a:gd name="connsiteX4" fmla="*/ 276550 w 2485837"/>
                <a:gd name="connsiteY4" fmla="*/ 4461 h 346768"/>
                <a:gd name="connsiteX0" fmla="*/ 276550 w 2485837"/>
                <a:gd name="connsiteY0" fmla="*/ 1 h 342308"/>
                <a:gd name="connsiteX1" fmla="*/ 2186984 w 2485837"/>
                <a:gd name="connsiteY1" fmla="*/ 0 h 342308"/>
                <a:gd name="connsiteX2" fmla="*/ 2485837 w 2485837"/>
                <a:gd name="connsiteY2" fmla="*/ 342308 h 342308"/>
                <a:gd name="connsiteX3" fmla="*/ 0 w 2485837"/>
                <a:gd name="connsiteY3" fmla="*/ 337848 h 342308"/>
                <a:gd name="connsiteX4" fmla="*/ 276550 w 2485837"/>
                <a:gd name="connsiteY4" fmla="*/ 1 h 34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837" h="342308">
                  <a:moveTo>
                    <a:pt x="276550" y="1"/>
                  </a:moveTo>
                  <a:lnTo>
                    <a:pt x="2186984" y="0"/>
                  </a:lnTo>
                  <a:lnTo>
                    <a:pt x="2485837" y="342308"/>
                  </a:lnTo>
                  <a:lnTo>
                    <a:pt x="0" y="337848"/>
                  </a:lnTo>
                  <a:lnTo>
                    <a:pt x="276550" y="1"/>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33" name="Group 132"/>
            <p:cNvGrpSpPr/>
            <p:nvPr/>
          </p:nvGrpSpPr>
          <p:grpSpPr>
            <a:xfrm flipH="1">
              <a:off x="9251849" y="4235118"/>
              <a:ext cx="2508365" cy="1356398"/>
              <a:chOff x="9610803" y="4481603"/>
              <a:chExt cx="2567274" cy="1388253"/>
            </a:xfrm>
          </p:grpSpPr>
          <p:grpSp>
            <p:nvGrpSpPr>
              <p:cNvPr id="125" name="Group 124"/>
              <p:cNvGrpSpPr/>
              <p:nvPr/>
            </p:nvGrpSpPr>
            <p:grpSpPr>
              <a:xfrm>
                <a:off x="9610803" y="4481603"/>
                <a:ext cx="2567274" cy="666918"/>
                <a:chOff x="9476996" y="4481599"/>
                <a:chExt cx="2713388" cy="704875"/>
              </a:xfrm>
              <a:solidFill>
                <a:schemeClr val="bg2"/>
              </a:solidFill>
            </p:grpSpPr>
            <p:sp>
              <p:nvSpPr>
                <p:cNvPr id="121" name="Rectangle 120"/>
                <p:cNvSpPr/>
                <p:nvPr/>
              </p:nvSpPr>
              <p:spPr bwMode="auto">
                <a:xfrm>
                  <a:off x="9476996" y="4481599"/>
                  <a:ext cx="704875" cy="70487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22" name="Rectangle 121"/>
                <p:cNvSpPr/>
                <p:nvPr/>
              </p:nvSpPr>
              <p:spPr bwMode="auto">
                <a:xfrm>
                  <a:off x="10241657"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23" name="Rectangle 122"/>
                <p:cNvSpPr/>
                <p:nvPr/>
              </p:nvSpPr>
              <p:spPr bwMode="auto">
                <a:xfrm>
                  <a:off x="11006318"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24" name="Rectangle 123"/>
                <p:cNvSpPr/>
                <p:nvPr/>
              </p:nvSpPr>
              <p:spPr bwMode="auto">
                <a:xfrm>
                  <a:off x="11770980" y="4481599"/>
                  <a:ext cx="419404"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281129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04" h="704875">
                      <a:moveTo>
                        <a:pt x="0" y="0"/>
                      </a:moveTo>
                      <a:lnTo>
                        <a:pt x="281129" y="0"/>
                      </a:lnTo>
                      <a:cubicBezTo>
                        <a:pt x="327221" y="233471"/>
                        <a:pt x="413457" y="355431"/>
                        <a:pt x="419404" y="70041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128" name="Group 127"/>
              <p:cNvGrpSpPr/>
              <p:nvPr/>
            </p:nvGrpSpPr>
            <p:grpSpPr>
              <a:xfrm>
                <a:off x="9610804" y="5202938"/>
                <a:ext cx="2558833" cy="666918"/>
                <a:chOff x="9469082" y="4427995"/>
                <a:chExt cx="2704467" cy="704875"/>
              </a:xfrm>
              <a:solidFill>
                <a:schemeClr val="bg2"/>
              </a:solidFill>
            </p:grpSpPr>
            <p:sp>
              <p:nvSpPr>
                <p:cNvPr id="129" name="Rectangle 128"/>
                <p:cNvSpPr/>
                <p:nvPr/>
              </p:nvSpPr>
              <p:spPr bwMode="auto">
                <a:xfrm>
                  <a:off x="946908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0" name="Rectangle 129"/>
                <p:cNvSpPr/>
                <p:nvPr/>
              </p:nvSpPr>
              <p:spPr bwMode="auto">
                <a:xfrm>
                  <a:off x="1023374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1" name="Rectangle 130"/>
                <p:cNvSpPr/>
                <p:nvPr/>
              </p:nvSpPr>
              <p:spPr bwMode="auto">
                <a:xfrm>
                  <a:off x="10998403"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2" name="Rectangle 131"/>
                <p:cNvSpPr/>
                <p:nvPr/>
              </p:nvSpPr>
              <p:spPr bwMode="auto">
                <a:xfrm>
                  <a:off x="11763066" y="4427995"/>
                  <a:ext cx="410483"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3382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 h 704875"/>
                    <a:gd name="connsiteX2" fmla="*/ 704875 w 704875"/>
                    <a:gd name="connsiteY2" fmla="*/ 704875 h 704875"/>
                    <a:gd name="connsiteX3" fmla="*/ 0 w 704875"/>
                    <a:gd name="connsiteY3" fmla="*/ 704875 h 704875"/>
                    <a:gd name="connsiteX4" fmla="*/ 0 w 704875"/>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38393 w 410483"/>
                    <a:gd name="connsiteY2" fmla="*/ 695954 h 704875"/>
                    <a:gd name="connsiteX3" fmla="*/ 0 w 410483"/>
                    <a:gd name="connsiteY3" fmla="*/ 704875 h 704875"/>
                    <a:gd name="connsiteX4" fmla="*/ 0 w 410483"/>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483" h="704875">
                      <a:moveTo>
                        <a:pt x="0" y="0"/>
                      </a:moveTo>
                      <a:lnTo>
                        <a:pt x="410483" y="1"/>
                      </a:lnTo>
                      <a:cubicBezTo>
                        <a:pt x="325734" y="231985"/>
                        <a:pt x="303430" y="441667"/>
                        <a:pt x="138393" y="69595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sp>
          <p:nvSpPr>
            <p:cNvPr id="127" name="Oval 126"/>
            <p:cNvSpPr/>
            <p:nvPr/>
          </p:nvSpPr>
          <p:spPr bwMode="auto">
            <a:xfrm>
              <a:off x="9269282" y="3296296"/>
              <a:ext cx="2879702" cy="2879702"/>
            </a:xfrm>
            <a:prstGeom prst="ellipse">
              <a:avLst/>
            </a:prstGeom>
            <a:no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 name="Freeform 5"/>
            <p:cNvSpPr>
              <a:spLocks/>
            </p:cNvSpPr>
            <p:nvPr/>
          </p:nvSpPr>
          <p:spPr bwMode="auto">
            <a:xfrm>
              <a:off x="9741245" y="4676946"/>
              <a:ext cx="1016966" cy="1388095"/>
            </a:xfrm>
            <a:custGeom>
              <a:avLst/>
              <a:gdLst>
                <a:gd name="T0" fmla="*/ 687 w 954"/>
                <a:gd name="T1" fmla="*/ 525 h 1304"/>
                <a:gd name="T2" fmla="*/ 685 w 954"/>
                <a:gd name="T3" fmla="*/ 525 h 1304"/>
                <a:gd name="T4" fmla="*/ 651 w 954"/>
                <a:gd name="T5" fmla="*/ 523 h 1304"/>
                <a:gd name="T6" fmla="*/ 632 w 954"/>
                <a:gd name="T7" fmla="*/ 490 h 1304"/>
                <a:gd name="T8" fmla="*/ 621 w 954"/>
                <a:gd name="T9" fmla="*/ 475 h 1304"/>
                <a:gd name="T10" fmla="*/ 521 w 954"/>
                <a:gd name="T11" fmla="*/ 438 h 1304"/>
                <a:gd name="T12" fmla="*/ 488 w 954"/>
                <a:gd name="T13" fmla="*/ 445 h 1304"/>
                <a:gd name="T14" fmla="*/ 488 w 954"/>
                <a:gd name="T15" fmla="*/ 442 h 1304"/>
                <a:gd name="T16" fmla="*/ 488 w 954"/>
                <a:gd name="T17" fmla="*/ 440 h 1304"/>
                <a:gd name="T18" fmla="*/ 384 w 954"/>
                <a:gd name="T19" fmla="*/ 49 h 1304"/>
                <a:gd name="T20" fmla="*/ 318 w 954"/>
                <a:gd name="T21" fmla="*/ 4 h 1304"/>
                <a:gd name="T22" fmla="*/ 275 w 954"/>
                <a:gd name="T23" fmla="*/ 71 h 1304"/>
                <a:gd name="T24" fmla="*/ 377 w 954"/>
                <a:gd name="T25" fmla="*/ 617 h 1304"/>
                <a:gd name="T26" fmla="*/ 379 w 954"/>
                <a:gd name="T27" fmla="*/ 636 h 1304"/>
                <a:gd name="T28" fmla="*/ 353 w 954"/>
                <a:gd name="T29" fmla="*/ 703 h 1304"/>
                <a:gd name="T30" fmla="*/ 337 w 954"/>
                <a:gd name="T31" fmla="*/ 715 h 1304"/>
                <a:gd name="T32" fmla="*/ 251 w 954"/>
                <a:gd name="T33" fmla="*/ 693 h 1304"/>
                <a:gd name="T34" fmla="*/ 178 w 954"/>
                <a:gd name="T35" fmla="*/ 589 h 1304"/>
                <a:gd name="T36" fmla="*/ 142 w 954"/>
                <a:gd name="T37" fmla="*/ 532 h 1304"/>
                <a:gd name="T38" fmla="*/ 22 w 954"/>
                <a:gd name="T39" fmla="*/ 509 h 1304"/>
                <a:gd name="T40" fmla="*/ 10 w 954"/>
                <a:gd name="T41" fmla="*/ 554 h 1304"/>
                <a:gd name="T42" fmla="*/ 52 w 954"/>
                <a:gd name="T43" fmla="*/ 615 h 1304"/>
                <a:gd name="T44" fmla="*/ 74 w 954"/>
                <a:gd name="T45" fmla="*/ 670 h 1304"/>
                <a:gd name="T46" fmla="*/ 90 w 954"/>
                <a:gd name="T47" fmla="*/ 722 h 1304"/>
                <a:gd name="T48" fmla="*/ 116 w 954"/>
                <a:gd name="T49" fmla="*/ 762 h 1304"/>
                <a:gd name="T50" fmla="*/ 166 w 954"/>
                <a:gd name="T51" fmla="*/ 845 h 1304"/>
                <a:gd name="T52" fmla="*/ 249 w 954"/>
                <a:gd name="T53" fmla="*/ 999 h 1304"/>
                <a:gd name="T54" fmla="*/ 403 w 954"/>
                <a:gd name="T55" fmla="*/ 1136 h 1304"/>
                <a:gd name="T56" fmla="*/ 457 w 954"/>
                <a:gd name="T57" fmla="*/ 1190 h 1304"/>
                <a:gd name="T58" fmla="*/ 479 w 954"/>
                <a:gd name="T59" fmla="*/ 1304 h 1304"/>
                <a:gd name="T60" fmla="*/ 933 w 954"/>
                <a:gd name="T61" fmla="*/ 1226 h 1304"/>
                <a:gd name="T62" fmla="*/ 912 w 954"/>
                <a:gd name="T63" fmla="*/ 1129 h 1304"/>
                <a:gd name="T64" fmla="*/ 909 w 954"/>
                <a:gd name="T65" fmla="*/ 1126 h 1304"/>
                <a:gd name="T66" fmla="*/ 931 w 954"/>
                <a:gd name="T67" fmla="*/ 1053 h 1304"/>
                <a:gd name="T68" fmla="*/ 940 w 954"/>
                <a:gd name="T69" fmla="*/ 991 h 1304"/>
                <a:gd name="T70" fmla="*/ 947 w 954"/>
                <a:gd name="T71" fmla="*/ 831 h 1304"/>
                <a:gd name="T72" fmla="*/ 950 w 954"/>
                <a:gd name="T73" fmla="*/ 802 h 1304"/>
                <a:gd name="T74" fmla="*/ 872 w 954"/>
                <a:gd name="T75" fmla="*/ 684 h 1304"/>
                <a:gd name="T76" fmla="*/ 869 w 954"/>
                <a:gd name="T77" fmla="*/ 681 h 1304"/>
                <a:gd name="T78" fmla="*/ 805 w 954"/>
                <a:gd name="T79" fmla="*/ 589 h 1304"/>
                <a:gd name="T80" fmla="*/ 687 w 954"/>
                <a:gd name="T81" fmla="*/ 525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1304">
                  <a:moveTo>
                    <a:pt x="687" y="525"/>
                  </a:moveTo>
                  <a:cubicBezTo>
                    <a:pt x="685" y="525"/>
                    <a:pt x="685" y="525"/>
                    <a:pt x="685" y="525"/>
                  </a:cubicBezTo>
                  <a:cubicBezTo>
                    <a:pt x="651" y="523"/>
                    <a:pt x="651" y="523"/>
                    <a:pt x="651" y="523"/>
                  </a:cubicBezTo>
                  <a:cubicBezTo>
                    <a:pt x="632" y="490"/>
                    <a:pt x="632" y="490"/>
                    <a:pt x="632" y="490"/>
                  </a:cubicBezTo>
                  <a:cubicBezTo>
                    <a:pt x="628" y="485"/>
                    <a:pt x="625" y="480"/>
                    <a:pt x="621" y="475"/>
                  </a:cubicBezTo>
                  <a:cubicBezTo>
                    <a:pt x="592" y="452"/>
                    <a:pt x="559" y="438"/>
                    <a:pt x="521" y="438"/>
                  </a:cubicBezTo>
                  <a:cubicBezTo>
                    <a:pt x="488" y="445"/>
                    <a:pt x="488" y="445"/>
                    <a:pt x="488" y="445"/>
                  </a:cubicBezTo>
                  <a:cubicBezTo>
                    <a:pt x="488" y="442"/>
                    <a:pt x="488" y="442"/>
                    <a:pt x="488" y="442"/>
                  </a:cubicBezTo>
                  <a:cubicBezTo>
                    <a:pt x="488" y="440"/>
                    <a:pt x="488" y="440"/>
                    <a:pt x="488" y="440"/>
                  </a:cubicBezTo>
                  <a:cubicBezTo>
                    <a:pt x="384" y="49"/>
                    <a:pt x="384" y="49"/>
                    <a:pt x="384" y="49"/>
                  </a:cubicBezTo>
                  <a:cubicBezTo>
                    <a:pt x="370" y="0"/>
                    <a:pt x="346" y="0"/>
                    <a:pt x="318" y="4"/>
                  </a:cubicBezTo>
                  <a:cubicBezTo>
                    <a:pt x="318" y="4"/>
                    <a:pt x="263" y="12"/>
                    <a:pt x="275" y="71"/>
                  </a:cubicBezTo>
                  <a:cubicBezTo>
                    <a:pt x="377" y="617"/>
                    <a:pt x="377" y="617"/>
                    <a:pt x="377" y="617"/>
                  </a:cubicBezTo>
                  <a:cubicBezTo>
                    <a:pt x="377" y="625"/>
                    <a:pt x="379" y="629"/>
                    <a:pt x="379" y="636"/>
                  </a:cubicBezTo>
                  <a:cubicBezTo>
                    <a:pt x="379" y="660"/>
                    <a:pt x="370" y="684"/>
                    <a:pt x="353" y="703"/>
                  </a:cubicBezTo>
                  <a:cubicBezTo>
                    <a:pt x="348" y="710"/>
                    <a:pt x="341" y="715"/>
                    <a:pt x="337" y="715"/>
                  </a:cubicBezTo>
                  <a:cubicBezTo>
                    <a:pt x="306" y="719"/>
                    <a:pt x="277" y="712"/>
                    <a:pt x="251" y="693"/>
                  </a:cubicBezTo>
                  <a:cubicBezTo>
                    <a:pt x="221" y="670"/>
                    <a:pt x="199" y="620"/>
                    <a:pt x="178" y="589"/>
                  </a:cubicBezTo>
                  <a:cubicBezTo>
                    <a:pt x="166" y="570"/>
                    <a:pt x="157" y="549"/>
                    <a:pt x="142" y="532"/>
                  </a:cubicBezTo>
                  <a:cubicBezTo>
                    <a:pt x="114" y="504"/>
                    <a:pt x="57" y="480"/>
                    <a:pt x="22" y="509"/>
                  </a:cubicBezTo>
                  <a:cubicBezTo>
                    <a:pt x="12" y="518"/>
                    <a:pt x="0" y="542"/>
                    <a:pt x="10" y="554"/>
                  </a:cubicBezTo>
                  <a:cubicBezTo>
                    <a:pt x="24" y="573"/>
                    <a:pt x="43" y="594"/>
                    <a:pt x="52" y="615"/>
                  </a:cubicBezTo>
                  <a:cubicBezTo>
                    <a:pt x="62" y="632"/>
                    <a:pt x="67" y="651"/>
                    <a:pt x="74" y="670"/>
                  </a:cubicBezTo>
                  <a:cubicBezTo>
                    <a:pt x="78" y="681"/>
                    <a:pt x="81" y="712"/>
                    <a:pt x="90" y="722"/>
                  </a:cubicBezTo>
                  <a:cubicBezTo>
                    <a:pt x="100" y="731"/>
                    <a:pt x="109" y="750"/>
                    <a:pt x="116" y="762"/>
                  </a:cubicBezTo>
                  <a:cubicBezTo>
                    <a:pt x="133" y="788"/>
                    <a:pt x="157" y="816"/>
                    <a:pt x="166" y="845"/>
                  </a:cubicBezTo>
                  <a:cubicBezTo>
                    <a:pt x="199" y="892"/>
                    <a:pt x="213" y="954"/>
                    <a:pt x="249" y="999"/>
                  </a:cubicBezTo>
                  <a:cubicBezTo>
                    <a:pt x="294" y="1053"/>
                    <a:pt x="337" y="1105"/>
                    <a:pt x="403" y="1136"/>
                  </a:cubicBezTo>
                  <a:cubicBezTo>
                    <a:pt x="426" y="1150"/>
                    <a:pt x="443" y="1169"/>
                    <a:pt x="457" y="1190"/>
                  </a:cubicBezTo>
                  <a:cubicBezTo>
                    <a:pt x="479" y="1304"/>
                    <a:pt x="479" y="1304"/>
                    <a:pt x="479" y="1304"/>
                  </a:cubicBezTo>
                  <a:cubicBezTo>
                    <a:pt x="561" y="1290"/>
                    <a:pt x="898" y="1233"/>
                    <a:pt x="933" y="1226"/>
                  </a:cubicBezTo>
                  <a:cubicBezTo>
                    <a:pt x="912" y="1129"/>
                    <a:pt x="912" y="1129"/>
                    <a:pt x="912" y="1129"/>
                  </a:cubicBezTo>
                  <a:cubicBezTo>
                    <a:pt x="909" y="1126"/>
                    <a:pt x="909" y="1126"/>
                    <a:pt x="909" y="1126"/>
                  </a:cubicBezTo>
                  <a:cubicBezTo>
                    <a:pt x="919" y="1103"/>
                    <a:pt x="924" y="1077"/>
                    <a:pt x="931" y="1053"/>
                  </a:cubicBezTo>
                  <a:cubicBezTo>
                    <a:pt x="936" y="1032"/>
                    <a:pt x="940" y="1013"/>
                    <a:pt x="940" y="991"/>
                  </a:cubicBezTo>
                  <a:cubicBezTo>
                    <a:pt x="943" y="939"/>
                    <a:pt x="945" y="885"/>
                    <a:pt x="947" y="831"/>
                  </a:cubicBezTo>
                  <a:cubicBezTo>
                    <a:pt x="947" y="821"/>
                    <a:pt x="947" y="812"/>
                    <a:pt x="950" y="802"/>
                  </a:cubicBezTo>
                  <a:cubicBezTo>
                    <a:pt x="954" y="771"/>
                    <a:pt x="936" y="688"/>
                    <a:pt x="872" y="684"/>
                  </a:cubicBezTo>
                  <a:cubicBezTo>
                    <a:pt x="869" y="684"/>
                    <a:pt x="869" y="684"/>
                    <a:pt x="869" y="681"/>
                  </a:cubicBezTo>
                  <a:cubicBezTo>
                    <a:pt x="853" y="648"/>
                    <a:pt x="831" y="617"/>
                    <a:pt x="805" y="589"/>
                  </a:cubicBezTo>
                  <a:cubicBezTo>
                    <a:pt x="775" y="556"/>
                    <a:pt x="732" y="532"/>
                    <a:pt x="687" y="525"/>
                  </a:cubicBezTo>
                  <a:close/>
                </a:path>
              </a:pathLst>
            </a:custGeom>
            <a:solidFill>
              <a:schemeClr val="bg2"/>
            </a:solidFill>
            <a:ln w="285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02"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10804805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07"/>
                                        </p:tgtEl>
                                        <p:attrNameLst>
                                          <p:attrName>style.visibility</p:attrName>
                                        </p:attrNameLst>
                                      </p:cBhvr>
                                      <p:to>
                                        <p:strVal val="visible"/>
                                      </p:to>
                                    </p:set>
                                    <p:anim calcmode="lin" valueType="num">
                                      <p:cBhvr additive="base">
                                        <p:cTn id="7" dur="500" fill="hold"/>
                                        <p:tgtEl>
                                          <p:spTgt spid="107"/>
                                        </p:tgtEl>
                                        <p:attrNameLst>
                                          <p:attrName>ppt_x</p:attrName>
                                        </p:attrNameLst>
                                      </p:cBhvr>
                                      <p:tavLst>
                                        <p:tav tm="0">
                                          <p:val>
                                            <p:strVal val="#ppt_x"/>
                                          </p:val>
                                        </p:tav>
                                        <p:tav tm="100000">
                                          <p:val>
                                            <p:strVal val="#ppt_x"/>
                                          </p:val>
                                        </p:tav>
                                      </p:tavLst>
                                    </p:anim>
                                    <p:anim calcmode="lin" valueType="num">
                                      <p:cBhvr additive="base">
                                        <p:cTn id="8" dur="500" fill="hold"/>
                                        <p:tgtEl>
                                          <p:spTgt spid="10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11465" y="1674123"/>
            <a:ext cx="11863821" cy="3185154"/>
            <a:chOff x="311501" y="1211263"/>
            <a:chExt cx="11890090" cy="4007991"/>
          </a:xfrm>
          <a:solidFill>
            <a:schemeClr val="bg1"/>
          </a:solidFill>
        </p:grpSpPr>
        <p:sp>
          <p:nvSpPr>
            <p:cNvPr id="91" name="Rectangle 90"/>
            <p:cNvSpPr/>
            <p:nvPr/>
          </p:nvSpPr>
          <p:spPr bwMode="auto">
            <a:xfrm>
              <a:off x="311501"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a:lnSpc>
                  <a:spcPct val="90000"/>
                </a:lnSpc>
                <a:spcBef>
                  <a:spcPct val="20000"/>
                </a:spcBef>
              </a:pPr>
              <a:r>
                <a:rPr lang="en-US" sz="2400" spc="-102" dirty="0">
                  <a:gradFill>
                    <a:gsLst>
                      <a:gs pos="9167">
                        <a:srgbClr val="505050"/>
                      </a:gs>
                      <a:gs pos="100000">
                        <a:srgbClr val="505050"/>
                      </a:gs>
                    </a:gsLst>
                    <a:lin ang="5400000" scaled="0"/>
                  </a:gradFill>
                </a:rPr>
                <a:t>Your </a:t>
              </a:r>
              <a:r>
                <a:rPr lang="en-US" sz="2400" spc="-102" dirty="0" smtClean="0">
                  <a:gradFill>
                    <a:gsLst>
                      <a:gs pos="9167">
                        <a:srgbClr val="505050"/>
                      </a:gs>
                      <a:gs pos="100000">
                        <a:srgbClr val="505050"/>
                      </a:gs>
                    </a:gsLst>
                    <a:lin ang="5400000" scaled="0"/>
                  </a:gradFill>
                </a:rPr>
                <a:t>Directory on the cloud</a:t>
              </a:r>
              <a:endParaRPr lang="en-US" sz="2400" spc="-102" dirty="0">
                <a:gradFill>
                  <a:gsLst>
                    <a:gs pos="9167">
                      <a:srgbClr val="505050"/>
                    </a:gs>
                    <a:gs pos="100000">
                      <a:srgbClr val="505050"/>
                    </a:gs>
                  </a:gsLst>
                  <a:lin ang="5400000" scaled="0"/>
                </a:gradFill>
              </a:endParaRPr>
            </a:p>
          </p:txBody>
        </p:sp>
        <p:sp>
          <p:nvSpPr>
            <p:cNvPr id="92" name="Rectangle 91"/>
            <p:cNvSpPr/>
            <p:nvPr/>
          </p:nvSpPr>
          <p:spPr bwMode="auto">
            <a:xfrm>
              <a:off x="3300399"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fontAlgn="base">
                <a:lnSpc>
                  <a:spcPct val="90000"/>
                </a:lnSpc>
                <a:spcBef>
                  <a:spcPct val="20000"/>
                </a:spcBef>
                <a:spcAft>
                  <a:spcPct val="0"/>
                </a:spcAft>
              </a:pPr>
              <a:r>
                <a:rPr lang="en-US" sz="2400" spc="-102" dirty="0" smtClean="0">
                  <a:gradFill>
                    <a:gsLst>
                      <a:gs pos="9167">
                        <a:srgbClr val="505050"/>
                      </a:gs>
                      <a:gs pos="100000">
                        <a:srgbClr val="505050"/>
                      </a:gs>
                    </a:gsLst>
                    <a:lin ang="5400000" scaled="0"/>
                  </a:gradFill>
                </a:rPr>
                <a:t>Centrally managed identities and access.</a:t>
              </a:r>
              <a:endParaRPr lang="en-US" sz="2400" spc="-102" dirty="0">
                <a:gradFill>
                  <a:gsLst>
                    <a:gs pos="9167">
                      <a:srgbClr val="505050"/>
                    </a:gs>
                    <a:gs pos="100000">
                      <a:srgbClr val="505050"/>
                    </a:gs>
                  </a:gsLst>
                  <a:lin ang="5400000" scaled="0"/>
                </a:gradFill>
              </a:endParaRPr>
            </a:p>
          </p:txBody>
        </p:sp>
        <p:sp>
          <p:nvSpPr>
            <p:cNvPr id="95" name="Rectangle 94"/>
            <p:cNvSpPr/>
            <p:nvPr/>
          </p:nvSpPr>
          <p:spPr bwMode="auto">
            <a:xfrm>
              <a:off x="6289298"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a:lnSpc>
                  <a:spcPct val="90000"/>
                </a:lnSpc>
                <a:spcBef>
                  <a:spcPct val="20000"/>
                </a:spcBef>
              </a:pPr>
              <a:r>
                <a:rPr lang="en-US" sz="2400" spc="-102" dirty="0">
                  <a:gradFill>
                    <a:gsLst>
                      <a:gs pos="9167">
                        <a:srgbClr val="505050"/>
                      </a:gs>
                      <a:gs pos="100000">
                        <a:srgbClr val="505050"/>
                      </a:gs>
                    </a:gsLst>
                    <a:lin ang="5400000" scaled="0"/>
                  </a:gradFill>
                </a:rPr>
                <a:t>Monitor and protect access to </a:t>
              </a:r>
              <a:r>
                <a:rPr lang="en-US" sz="2400" spc="-102" dirty="0" smtClean="0">
                  <a:gradFill>
                    <a:gsLst>
                      <a:gs pos="9167">
                        <a:srgbClr val="505050"/>
                      </a:gs>
                      <a:gs pos="100000">
                        <a:srgbClr val="505050"/>
                      </a:gs>
                    </a:gsLst>
                    <a:lin ang="5400000" scaled="0"/>
                  </a:gradFill>
                </a:rPr>
                <a:t>cloud applications</a:t>
              </a:r>
              <a:r>
                <a:rPr lang="en-US" sz="2400" spc="-102" dirty="0">
                  <a:gradFill>
                    <a:gsLst>
                      <a:gs pos="9167">
                        <a:srgbClr val="505050"/>
                      </a:gs>
                      <a:gs pos="100000">
                        <a:srgbClr val="505050"/>
                      </a:gs>
                    </a:gsLst>
                    <a:lin ang="5400000" scaled="0"/>
                  </a:gradFill>
                </a:rPr>
                <a:t>.</a:t>
              </a:r>
            </a:p>
          </p:txBody>
        </p:sp>
        <p:sp>
          <p:nvSpPr>
            <p:cNvPr id="96" name="Rectangle 95"/>
            <p:cNvSpPr/>
            <p:nvPr/>
          </p:nvSpPr>
          <p:spPr bwMode="auto">
            <a:xfrm>
              <a:off x="9278196" y="1211263"/>
              <a:ext cx="2923395" cy="400799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03" fontAlgn="base">
                <a:lnSpc>
                  <a:spcPct val="90000"/>
                </a:lnSpc>
                <a:spcBef>
                  <a:spcPct val="20000"/>
                </a:spcBef>
                <a:spcAft>
                  <a:spcPct val="0"/>
                </a:spcAft>
              </a:pPr>
              <a:r>
                <a:rPr lang="en-US" sz="2400" spc="-102" dirty="0" smtClean="0">
                  <a:gradFill>
                    <a:gsLst>
                      <a:gs pos="9167">
                        <a:srgbClr val="505050"/>
                      </a:gs>
                      <a:gs pos="100000">
                        <a:srgbClr val="505050"/>
                      </a:gs>
                    </a:gsLst>
                    <a:lin ang="5400000" scaled="0"/>
                  </a:gradFill>
                </a:rPr>
                <a:t>Empower </a:t>
              </a:r>
              <a:r>
                <a:rPr lang="en-US" sz="2400" spc="-102" dirty="0">
                  <a:gradFill>
                    <a:gsLst>
                      <a:gs pos="9167">
                        <a:srgbClr val="505050"/>
                      </a:gs>
                      <a:gs pos="100000">
                        <a:srgbClr val="505050"/>
                      </a:gs>
                    </a:gsLst>
                    <a:lin ang="5400000" scaled="0"/>
                  </a:gradFill>
                </a:rPr>
                <a:t>U</a:t>
              </a:r>
              <a:r>
                <a:rPr lang="en-US" sz="2400" spc="-102" dirty="0" smtClean="0">
                  <a:gradFill>
                    <a:gsLst>
                      <a:gs pos="9167">
                        <a:srgbClr val="505050"/>
                      </a:gs>
                      <a:gs pos="100000">
                        <a:srgbClr val="505050"/>
                      </a:gs>
                    </a:gsLst>
                    <a:lin ang="5400000" scaled="0"/>
                  </a:gradFill>
                </a:rPr>
                <a:t>sers</a:t>
              </a:r>
              <a:endParaRPr lang="en-US" sz="2400" spc="-102" dirty="0">
                <a:gradFill>
                  <a:gsLst>
                    <a:gs pos="9167">
                      <a:srgbClr val="505050"/>
                    </a:gs>
                    <a:gs pos="100000">
                      <a:srgbClr val="505050"/>
                    </a:gs>
                  </a:gsLst>
                  <a:lin ang="5400000" scaled="0"/>
                </a:gradFill>
              </a:endParaRPr>
            </a:p>
          </p:txBody>
        </p:sp>
      </p:grpSp>
      <p:grpSp>
        <p:nvGrpSpPr>
          <p:cNvPr id="121" name="Group 120"/>
          <p:cNvGrpSpPr/>
          <p:nvPr/>
        </p:nvGrpSpPr>
        <p:grpSpPr>
          <a:xfrm>
            <a:off x="6287898" y="3296296"/>
            <a:ext cx="2879702" cy="2879702"/>
            <a:chOff x="6287898" y="3296296"/>
            <a:chExt cx="2879702" cy="2879702"/>
          </a:xfrm>
        </p:grpSpPr>
        <p:sp>
          <p:nvSpPr>
            <p:cNvPr id="122" name="Oval 121"/>
            <p:cNvSpPr/>
            <p:nvPr/>
          </p:nvSpPr>
          <p:spPr bwMode="auto">
            <a:xfrm>
              <a:off x="6287898"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23" name="Group 122"/>
            <p:cNvGrpSpPr/>
            <p:nvPr/>
          </p:nvGrpSpPr>
          <p:grpSpPr>
            <a:xfrm>
              <a:off x="6915494" y="3662037"/>
              <a:ext cx="1624511" cy="2148219"/>
              <a:chOff x="6947075" y="4069887"/>
              <a:chExt cx="1628108" cy="2152976"/>
            </a:xfrm>
          </p:grpSpPr>
          <p:sp>
            <p:nvSpPr>
              <p:cNvPr id="124" name="Freeform 30"/>
              <p:cNvSpPr>
                <a:spLocks noEditPoints="1"/>
              </p:cNvSpPr>
              <p:nvPr/>
            </p:nvSpPr>
            <p:spPr bwMode="auto">
              <a:xfrm>
                <a:off x="7187502" y="4069887"/>
                <a:ext cx="1188925" cy="151280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25" name="Group 124"/>
              <p:cNvGrpSpPr/>
              <p:nvPr/>
            </p:nvGrpSpPr>
            <p:grpSpPr>
              <a:xfrm>
                <a:off x="6947075" y="4826289"/>
                <a:ext cx="1628108" cy="1396574"/>
                <a:chOff x="6947075" y="4910697"/>
                <a:chExt cx="1628108" cy="1396574"/>
              </a:xfrm>
            </p:grpSpPr>
            <p:grpSp>
              <p:nvGrpSpPr>
                <p:cNvPr id="126" name="Group 125"/>
                <p:cNvGrpSpPr/>
                <p:nvPr/>
              </p:nvGrpSpPr>
              <p:grpSpPr>
                <a:xfrm>
                  <a:off x="6947075" y="4910697"/>
                  <a:ext cx="1628108" cy="1396574"/>
                  <a:chOff x="3504022" y="1725284"/>
                  <a:chExt cx="1628108" cy="1396574"/>
                </a:xfrm>
                <a:solidFill>
                  <a:srgbClr val="969696"/>
                </a:solidFill>
              </p:grpSpPr>
              <p:sp>
                <p:nvSpPr>
                  <p:cNvPr id="128" name="Freeform 741"/>
                  <p:cNvSpPr>
                    <a:spLocks/>
                  </p:cNvSpPr>
                  <p:nvPr/>
                </p:nvSpPr>
                <p:spPr bwMode="auto">
                  <a:xfrm>
                    <a:off x="4055756" y="2070117"/>
                    <a:ext cx="524640" cy="105174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29" name="Oval 742"/>
                  <p:cNvSpPr>
                    <a:spLocks noChangeArrowheads="1"/>
                  </p:cNvSpPr>
                  <p:nvPr/>
                </p:nvSpPr>
                <p:spPr bwMode="auto">
                  <a:xfrm>
                    <a:off x="4161669" y="1725284"/>
                    <a:ext cx="312813" cy="315276"/>
                  </a:xfrm>
                  <a:prstGeom prst="ellipse">
                    <a:avLst/>
                  </a:pr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30" name="Freeform 743"/>
                  <p:cNvSpPr>
                    <a:spLocks/>
                  </p:cNvSpPr>
                  <p:nvPr/>
                </p:nvSpPr>
                <p:spPr bwMode="auto">
                  <a:xfrm>
                    <a:off x="4691235"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31" name="Oval 744"/>
                  <p:cNvSpPr>
                    <a:spLocks noChangeArrowheads="1"/>
                  </p:cNvSpPr>
                  <p:nvPr/>
                </p:nvSpPr>
                <p:spPr bwMode="auto">
                  <a:xfrm>
                    <a:off x="4777444" y="1813955"/>
                    <a:ext cx="268478" cy="266014"/>
                  </a:xfrm>
                  <a:prstGeom prst="ellipse">
                    <a:avLst/>
                  </a:pr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32" name="Freeform 745"/>
                  <p:cNvSpPr>
                    <a:spLocks/>
                  </p:cNvSpPr>
                  <p:nvPr/>
                </p:nvSpPr>
                <p:spPr bwMode="auto">
                  <a:xfrm>
                    <a:off x="3504022"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33" name="Oval 746"/>
                  <p:cNvSpPr>
                    <a:spLocks noChangeArrowheads="1"/>
                  </p:cNvSpPr>
                  <p:nvPr/>
                </p:nvSpPr>
                <p:spPr bwMode="auto">
                  <a:xfrm>
                    <a:off x="3590230" y="1813955"/>
                    <a:ext cx="268478" cy="266014"/>
                  </a:xfrm>
                  <a:prstGeom prst="ellipse">
                    <a:avLst/>
                  </a:pr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p:nvSpPr>
                <p:cNvPr id="127" name="Freeform 6"/>
                <p:cNvSpPr>
                  <a:spLocks noEditPoints="1"/>
                </p:cNvSpPr>
                <p:nvPr/>
              </p:nvSpPr>
              <p:spPr bwMode="auto">
                <a:xfrm>
                  <a:off x="7606110" y="5335509"/>
                  <a:ext cx="310038" cy="377382"/>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rgbClr val="FFFFFF"/>
                </a:solidFill>
                <a:ln>
                  <a:solidFill>
                    <a:schemeClr val="bg2"/>
                  </a:solid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grpSp>
      </p:gr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13" name="Group 112"/>
          <p:cNvGrpSpPr/>
          <p:nvPr/>
        </p:nvGrpSpPr>
        <p:grpSpPr>
          <a:xfrm>
            <a:off x="3306515" y="3296296"/>
            <a:ext cx="2879702" cy="2879702"/>
            <a:chOff x="3306515" y="3296296"/>
            <a:chExt cx="2879702" cy="2879702"/>
          </a:xfrm>
        </p:grpSpPr>
        <p:sp>
          <p:nvSpPr>
            <p:cNvPr id="114" name="Oval 113"/>
            <p:cNvSpPr/>
            <p:nvPr/>
          </p:nvSpPr>
          <p:spPr bwMode="auto">
            <a:xfrm>
              <a:off x="3306515"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15" name="Group 114"/>
            <p:cNvGrpSpPr/>
            <p:nvPr/>
          </p:nvGrpSpPr>
          <p:grpSpPr>
            <a:xfrm>
              <a:off x="3540936" y="3771408"/>
              <a:ext cx="2548811" cy="1820108"/>
              <a:chOff x="-3017861" y="-1537339"/>
              <a:chExt cx="5138742" cy="3669579"/>
            </a:xfrm>
          </p:grpSpPr>
          <p:grpSp>
            <p:nvGrpSpPr>
              <p:cNvPr id="116" name="Group 115"/>
              <p:cNvGrpSpPr/>
              <p:nvPr/>
            </p:nvGrpSpPr>
            <p:grpSpPr>
              <a:xfrm>
                <a:off x="-3017861" y="-1537339"/>
                <a:ext cx="3450286" cy="1905991"/>
                <a:chOff x="6659010" y="1782633"/>
                <a:chExt cx="3450286" cy="1905991"/>
              </a:xfrm>
            </p:grpSpPr>
            <p:sp>
              <p:nvSpPr>
                <p:cNvPr id="156" name="Freeform 128"/>
                <p:cNvSpPr>
                  <a:spLocks noChangeAspect="1"/>
                </p:cNvSpPr>
                <p:nvPr/>
              </p:nvSpPr>
              <p:spPr bwMode="black">
                <a:xfrm>
                  <a:off x="6659010" y="1782633"/>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57" name="Group 156"/>
                <p:cNvGrpSpPr/>
                <p:nvPr/>
              </p:nvGrpSpPr>
              <p:grpSpPr>
                <a:xfrm>
                  <a:off x="7762465" y="2462445"/>
                  <a:ext cx="1255641" cy="740516"/>
                  <a:chOff x="6422815" y="-1271054"/>
                  <a:chExt cx="1289286" cy="760358"/>
                </a:xfrm>
              </p:grpSpPr>
              <p:grpSp>
                <p:nvGrpSpPr>
                  <p:cNvPr id="159" name="Group 158"/>
                  <p:cNvGrpSpPr/>
                  <p:nvPr/>
                </p:nvGrpSpPr>
                <p:grpSpPr>
                  <a:xfrm>
                    <a:off x="6422815" y="-1271054"/>
                    <a:ext cx="859524" cy="603121"/>
                    <a:chOff x="2078177" y="483467"/>
                    <a:chExt cx="8823325" cy="6191250"/>
                  </a:xfrm>
                  <a:solidFill>
                    <a:schemeClr val="tx2"/>
                  </a:solidFill>
                </p:grpSpPr>
                <p:sp>
                  <p:nvSpPr>
                    <p:cNvPr id="167"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8"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9"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0"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47"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60" name="Rectangle 159"/>
                  <p:cNvSpPr/>
                  <p:nvPr/>
                </p:nvSpPr>
                <p:spPr bwMode="auto">
                  <a:xfrm>
                    <a:off x="6867578" y="-1081533"/>
                    <a:ext cx="813474" cy="54807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61" name="Group 160"/>
                  <p:cNvGrpSpPr/>
                  <p:nvPr/>
                </p:nvGrpSpPr>
                <p:grpSpPr>
                  <a:xfrm>
                    <a:off x="6852577" y="-1113817"/>
                    <a:ext cx="859524" cy="603121"/>
                    <a:chOff x="2078177" y="483467"/>
                    <a:chExt cx="8823325" cy="6191250"/>
                  </a:xfrm>
                  <a:solidFill>
                    <a:schemeClr val="tx2"/>
                  </a:solidFill>
                </p:grpSpPr>
                <p:sp>
                  <p:nvSpPr>
                    <p:cNvPr id="162"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3"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4"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5"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6"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158" name="TextBox 157"/>
                <p:cNvSpPr txBox="1"/>
                <p:nvPr/>
              </p:nvSpPr>
              <p:spPr>
                <a:xfrm>
                  <a:off x="7101986" y="3297435"/>
                  <a:ext cx="2333406" cy="194573"/>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700" b="1" dirty="0" smtClean="0">
                      <a:gradFill>
                        <a:gsLst>
                          <a:gs pos="21429">
                            <a:srgbClr val="EFEFEF">
                              <a:lumMod val="50000"/>
                            </a:srgbClr>
                          </a:gs>
                          <a:gs pos="42000">
                            <a:srgbClr val="EFEFEF">
                              <a:lumMod val="50000"/>
                            </a:srgbClr>
                          </a:gs>
                        </a:gsLst>
                        <a:lin ang="5400000" scaled="0"/>
                      </a:gradFill>
                    </a:rPr>
                    <a:t>SaaS apps</a:t>
                  </a:r>
                  <a:endParaRPr lang="en-US" sz="700" b="1" dirty="0">
                    <a:gradFill>
                      <a:gsLst>
                        <a:gs pos="21429">
                          <a:srgbClr val="EFEFEF">
                            <a:lumMod val="50000"/>
                          </a:srgbClr>
                        </a:gs>
                        <a:gs pos="42000">
                          <a:srgbClr val="EFEFEF">
                            <a:lumMod val="50000"/>
                          </a:srgbClr>
                        </a:gs>
                      </a:gsLst>
                      <a:lin ang="5400000" scaled="0"/>
                    </a:gradFill>
                  </a:endParaRPr>
                </a:p>
              </p:txBody>
            </p:sp>
          </p:grpSp>
          <p:grpSp>
            <p:nvGrpSpPr>
              <p:cNvPr id="117" name="Group 116"/>
              <p:cNvGrpSpPr/>
              <p:nvPr/>
            </p:nvGrpSpPr>
            <p:grpSpPr>
              <a:xfrm>
                <a:off x="-1329405" y="-584344"/>
                <a:ext cx="3450286" cy="1905991"/>
                <a:chOff x="8347466" y="2735628"/>
                <a:chExt cx="3450286" cy="1905991"/>
              </a:xfrm>
            </p:grpSpPr>
            <p:sp>
              <p:nvSpPr>
                <p:cNvPr id="141" name="Freeform 128"/>
                <p:cNvSpPr>
                  <a:spLocks noChangeAspect="1"/>
                </p:cNvSpPr>
                <p:nvPr/>
              </p:nvSpPr>
              <p:spPr bwMode="black">
                <a:xfrm>
                  <a:off x="8347466" y="2735628"/>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42" name="Group 4"/>
                <p:cNvGrpSpPr>
                  <a:grpSpLocks noChangeAspect="1"/>
                </p:cNvGrpSpPr>
                <p:nvPr/>
              </p:nvGrpSpPr>
              <p:grpSpPr bwMode="auto">
                <a:xfrm>
                  <a:off x="9257354" y="3099992"/>
                  <a:ext cx="1336517" cy="1328090"/>
                  <a:chOff x="3125" y="1415"/>
                  <a:chExt cx="1586" cy="1576"/>
                </a:xfrm>
                <a:solidFill>
                  <a:srgbClr val="00188F"/>
                </a:solidFill>
              </p:grpSpPr>
              <p:sp>
                <p:nvSpPr>
                  <p:cNvPr id="15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5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5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grpSp>
          </p:grpSp>
          <p:sp>
            <p:nvSpPr>
              <p:cNvPr id="118" name="Freeform 23"/>
              <p:cNvSpPr>
                <a:spLocks/>
              </p:cNvSpPr>
              <p:nvPr/>
            </p:nvSpPr>
            <p:spPr bwMode="auto">
              <a:xfrm>
                <a:off x="-947774" y="446257"/>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9" name="Freeform 23"/>
              <p:cNvSpPr>
                <a:spLocks/>
              </p:cNvSpPr>
              <p:nvPr/>
            </p:nvSpPr>
            <p:spPr bwMode="auto">
              <a:xfrm>
                <a:off x="-2607076" y="-540826"/>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0" name="Freeform 13"/>
              <p:cNvSpPr>
                <a:spLocks noEditPoints="1"/>
              </p:cNvSpPr>
              <p:nvPr/>
            </p:nvSpPr>
            <p:spPr bwMode="auto">
              <a:xfrm>
                <a:off x="-2921027" y="721195"/>
                <a:ext cx="921540" cy="1411045"/>
              </a:xfrm>
              <a:custGeom>
                <a:avLst/>
                <a:gdLst>
                  <a:gd name="T0" fmla="*/ 748 w 1360"/>
                  <a:gd name="T1" fmla="*/ 1276 h 2085"/>
                  <a:gd name="T2" fmla="*/ 204 w 1360"/>
                  <a:gd name="T3" fmla="*/ 1276 h 2085"/>
                  <a:gd name="T4" fmla="*/ 561 w 1360"/>
                  <a:gd name="T5" fmla="*/ 587 h 2085"/>
                  <a:gd name="T6" fmla="*/ 680 w 1360"/>
                  <a:gd name="T7" fmla="*/ 927 h 2085"/>
                  <a:gd name="T8" fmla="*/ 748 w 1360"/>
                  <a:gd name="T9" fmla="*/ 978 h 2085"/>
                  <a:gd name="T10" fmla="*/ 1284 w 1360"/>
                  <a:gd name="T11" fmla="*/ 978 h 2085"/>
                  <a:gd name="T12" fmla="*/ 1360 w 1360"/>
                  <a:gd name="T13" fmla="*/ 902 h 2085"/>
                  <a:gd name="T14" fmla="*/ 1284 w 1360"/>
                  <a:gd name="T15" fmla="*/ 834 h 2085"/>
                  <a:gd name="T16" fmla="*/ 799 w 1360"/>
                  <a:gd name="T17" fmla="*/ 834 h 2085"/>
                  <a:gd name="T18" fmla="*/ 654 w 1360"/>
                  <a:gd name="T19" fmla="*/ 425 h 2085"/>
                  <a:gd name="T20" fmla="*/ 646 w 1360"/>
                  <a:gd name="T21" fmla="*/ 417 h 2085"/>
                  <a:gd name="T22" fmla="*/ 637 w 1360"/>
                  <a:gd name="T23" fmla="*/ 400 h 2085"/>
                  <a:gd name="T24" fmla="*/ 501 w 1360"/>
                  <a:gd name="T25" fmla="*/ 383 h 2085"/>
                  <a:gd name="T26" fmla="*/ 0 w 1360"/>
                  <a:gd name="T27" fmla="*/ 1370 h 2085"/>
                  <a:gd name="T28" fmla="*/ 34 w 1360"/>
                  <a:gd name="T29" fmla="*/ 1438 h 2085"/>
                  <a:gd name="T30" fmla="*/ 102 w 1360"/>
                  <a:gd name="T31" fmla="*/ 1472 h 2085"/>
                  <a:gd name="T32" fmla="*/ 654 w 1360"/>
                  <a:gd name="T33" fmla="*/ 1472 h 2085"/>
                  <a:gd name="T34" fmla="*/ 654 w 1360"/>
                  <a:gd name="T35" fmla="*/ 1991 h 2085"/>
                  <a:gd name="T36" fmla="*/ 748 w 1360"/>
                  <a:gd name="T37" fmla="*/ 2085 h 2085"/>
                  <a:gd name="T38" fmla="*/ 841 w 1360"/>
                  <a:gd name="T39" fmla="*/ 1991 h 2085"/>
                  <a:gd name="T40" fmla="*/ 841 w 1360"/>
                  <a:gd name="T41" fmla="*/ 1370 h 2085"/>
                  <a:gd name="T42" fmla="*/ 748 w 1360"/>
                  <a:gd name="T43" fmla="*/ 1276 h 2085"/>
                  <a:gd name="T44" fmla="*/ 841 w 1360"/>
                  <a:gd name="T45" fmla="*/ 0 h 2085"/>
                  <a:gd name="T46" fmla="*/ 1054 w 1360"/>
                  <a:gd name="T47" fmla="*/ 213 h 2085"/>
                  <a:gd name="T48" fmla="*/ 841 w 1360"/>
                  <a:gd name="T49" fmla="*/ 425 h 2085"/>
                  <a:gd name="T50" fmla="*/ 637 w 1360"/>
                  <a:gd name="T51" fmla="*/ 213 h 2085"/>
                  <a:gd name="T52" fmla="*/ 841 w 1360"/>
                  <a:gd name="T53" fmla="*/ 0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0"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0" name="Freeform 9"/>
              <p:cNvSpPr>
                <a:spLocks noEditPoints="1"/>
              </p:cNvSpPr>
              <p:nvPr/>
            </p:nvSpPr>
            <p:spPr bwMode="auto">
              <a:xfrm>
                <a:off x="-2162244" y="780650"/>
                <a:ext cx="593034" cy="705128"/>
              </a:xfrm>
              <a:custGeom>
                <a:avLst/>
                <a:gdLst>
                  <a:gd name="T0" fmla="*/ 323 w 824"/>
                  <a:gd name="T1" fmla="*/ 885 h 979"/>
                  <a:gd name="T2" fmla="*/ 50 w 824"/>
                  <a:gd name="T3" fmla="*/ 885 h 979"/>
                  <a:gd name="T4" fmla="*/ 0 w 824"/>
                  <a:gd name="T5" fmla="*/ 928 h 979"/>
                  <a:gd name="T6" fmla="*/ 50 w 824"/>
                  <a:gd name="T7" fmla="*/ 979 h 979"/>
                  <a:gd name="T8" fmla="*/ 323 w 824"/>
                  <a:gd name="T9" fmla="*/ 979 h 979"/>
                  <a:gd name="T10" fmla="*/ 373 w 824"/>
                  <a:gd name="T11" fmla="*/ 928 h 979"/>
                  <a:gd name="T12" fmla="*/ 323 w 824"/>
                  <a:gd name="T13" fmla="*/ 885 h 979"/>
                  <a:gd name="T14" fmla="*/ 629 w 824"/>
                  <a:gd name="T15" fmla="*/ 587 h 979"/>
                  <a:gd name="T16" fmla="*/ 612 w 824"/>
                  <a:gd name="T17" fmla="*/ 562 h 979"/>
                  <a:gd name="T18" fmla="*/ 824 w 824"/>
                  <a:gd name="T19" fmla="*/ 60 h 979"/>
                  <a:gd name="T20" fmla="*/ 697 w 824"/>
                  <a:gd name="T21" fmla="*/ 0 h 979"/>
                  <a:gd name="T22" fmla="*/ 373 w 824"/>
                  <a:gd name="T23" fmla="*/ 740 h 979"/>
                  <a:gd name="T24" fmla="*/ 510 w 824"/>
                  <a:gd name="T25" fmla="*/ 791 h 979"/>
                  <a:gd name="T26" fmla="*/ 561 w 824"/>
                  <a:gd name="T27" fmla="*/ 672 h 979"/>
                  <a:gd name="T28" fmla="*/ 663 w 824"/>
                  <a:gd name="T29" fmla="*/ 885 h 979"/>
                  <a:gd name="T30" fmla="*/ 518 w 824"/>
                  <a:gd name="T31" fmla="*/ 885 h 979"/>
                  <a:gd name="T32" fmla="*/ 467 w 824"/>
                  <a:gd name="T33" fmla="*/ 928 h 979"/>
                  <a:gd name="T34" fmla="*/ 518 w 824"/>
                  <a:gd name="T35" fmla="*/ 979 h 979"/>
                  <a:gd name="T36" fmla="*/ 739 w 824"/>
                  <a:gd name="T37" fmla="*/ 979 h 979"/>
                  <a:gd name="T38" fmla="*/ 782 w 824"/>
                  <a:gd name="T39" fmla="*/ 962 h 979"/>
                  <a:gd name="T40" fmla="*/ 782 w 824"/>
                  <a:gd name="T41" fmla="*/ 911 h 979"/>
                  <a:gd name="T42" fmla="*/ 629 w 824"/>
                  <a:gd name="T43" fmla="*/ 587 h 979"/>
                  <a:gd name="T44" fmla="*/ 629 w 824"/>
                  <a:gd name="T45" fmla="*/ 587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4" h="979">
                    <a:moveTo>
                      <a:pt x="323" y="885"/>
                    </a:moveTo>
                    <a:cubicBezTo>
                      <a:pt x="50" y="885"/>
                      <a:pt x="50" y="885"/>
                      <a:pt x="50" y="885"/>
                    </a:cubicBezTo>
                    <a:cubicBezTo>
                      <a:pt x="25" y="885"/>
                      <a:pt x="0" y="902"/>
                      <a:pt x="0" y="928"/>
                    </a:cubicBezTo>
                    <a:cubicBezTo>
                      <a:pt x="0" y="962"/>
                      <a:pt x="25" y="979"/>
                      <a:pt x="50" y="979"/>
                    </a:cubicBezTo>
                    <a:cubicBezTo>
                      <a:pt x="323" y="979"/>
                      <a:pt x="323" y="979"/>
                      <a:pt x="323" y="979"/>
                    </a:cubicBezTo>
                    <a:cubicBezTo>
                      <a:pt x="348" y="979"/>
                      <a:pt x="373" y="962"/>
                      <a:pt x="373" y="928"/>
                    </a:cubicBezTo>
                    <a:cubicBezTo>
                      <a:pt x="373" y="902"/>
                      <a:pt x="348" y="885"/>
                      <a:pt x="323" y="885"/>
                    </a:cubicBezTo>
                    <a:close/>
                    <a:moveTo>
                      <a:pt x="629" y="587"/>
                    </a:moveTo>
                    <a:cubicBezTo>
                      <a:pt x="620" y="579"/>
                      <a:pt x="620" y="570"/>
                      <a:pt x="612" y="562"/>
                    </a:cubicBezTo>
                    <a:cubicBezTo>
                      <a:pt x="824" y="60"/>
                      <a:pt x="824" y="60"/>
                      <a:pt x="824" y="60"/>
                    </a:cubicBezTo>
                    <a:cubicBezTo>
                      <a:pt x="697" y="0"/>
                      <a:pt x="697" y="0"/>
                      <a:pt x="697" y="0"/>
                    </a:cubicBezTo>
                    <a:cubicBezTo>
                      <a:pt x="373" y="740"/>
                      <a:pt x="373" y="740"/>
                      <a:pt x="373" y="740"/>
                    </a:cubicBezTo>
                    <a:cubicBezTo>
                      <a:pt x="510" y="791"/>
                      <a:pt x="510" y="791"/>
                      <a:pt x="510" y="791"/>
                    </a:cubicBezTo>
                    <a:cubicBezTo>
                      <a:pt x="561" y="672"/>
                      <a:pt x="561" y="672"/>
                      <a:pt x="561" y="672"/>
                    </a:cubicBezTo>
                    <a:cubicBezTo>
                      <a:pt x="663" y="885"/>
                      <a:pt x="663" y="885"/>
                      <a:pt x="663" y="885"/>
                    </a:cubicBezTo>
                    <a:cubicBezTo>
                      <a:pt x="518" y="885"/>
                      <a:pt x="518" y="885"/>
                      <a:pt x="518" y="885"/>
                    </a:cubicBezTo>
                    <a:cubicBezTo>
                      <a:pt x="493" y="885"/>
                      <a:pt x="467" y="902"/>
                      <a:pt x="467" y="928"/>
                    </a:cubicBezTo>
                    <a:cubicBezTo>
                      <a:pt x="467" y="962"/>
                      <a:pt x="493" y="979"/>
                      <a:pt x="518" y="979"/>
                    </a:cubicBezTo>
                    <a:cubicBezTo>
                      <a:pt x="739" y="979"/>
                      <a:pt x="739" y="979"/>
                      <a:pt x="739" y="979"/>
                    </a:cubicBezTo>
                    <a:cubicBezTo>
                      <a:pt x="756" y="979"/>
                      <a:pt x="773" y="970"/>
                      <a:pt x="782" y="962"/>
                    </a:cubicBezTo>
                    <a:cubicBezTo>
                      <a:pt x="790" y="945"/>
                      <a:pt x="790" y="928"/>
                      <a:pt x="782" y="911"/>
                    </a:cubicBezTo>
                    <a:cubicBezTo>
                      <a:pt x="629" y="587"/>
                      <a:pt x="629" y="587"/>
                      <a:pt x="629" y="587"/>
                    </a:cubicBezTo>
                    <a:cubicBezTo>
                      <a:pt x="629" y="587"/>
                      <a:pt x="629" y="587"/>
                      <a:pt x="629" y="58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grpSp>
        <p:nvGrpSpPr>
          <p:cNvPr id="4" name="Group 3"/>
          <p:cNvGrpSpPr/>
          <p:nvPr/>
        </p:nvGrpSpPr>
        <p:grpSpPr>
          <a:xfrm>
            <a:off x="9251849" y="3296296"/>
            <a:ext cx="2897135" cy="2879702"/>
            <a:chOff x="9251849" y="3296296"/>
            <a:chExt cx="2897135" cy="2879702"/>
          </a:xfrm>
        </p:grpSpPr>
        <p:grpSp>
          <p:nvGrpSpPr>
            <p:cNvPr id="134" name="Group 133"/>
            <p:cNvGrpSpPr/>
            <p:nvPr/>
          </p:nvGrpSpPr>
          <p:grpSpPr>
            <a:xfrm>
              <a:off x="9251849" y="3296296"/>
              <a:ext cx="2897135" cy="2879702"/>
              <a:chOff x="9251849" y="3296296"/>
              <a:chExt cx="2897135" cy="2879702"/>
            </a:xfrm>
          </p:grpSpPr>
          <p:sp>
            <p:nvSpPr>
              <p:cNvPr id="135" name="Oval 134"/>
              <p:cNvSpPr/>
              <p:nvPr/>
            </p:nvSpPr>
            <p:spPr bwMode="auto">
              <a:xfrm>
                <a:off x="9269282" y="3296296"/>
                <a:ext cx="2879702" cy="2879702"/>
              </a:xfrm>
              <a:prstGeom prst="ellipse">
                <a:avLst/>
              </a:prstGeom>
              <a:solidFill>
                <a:srgbClr val="FFFFFF"/>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6" name="Rectangle 119"/>
              <p:cNvSpPr/>
              <p:nvPr/>
            </p:nvSpPr>
            <p:spPr bwMode="auto">
              <a:xfrm>
                <a:off x="9477251" y="3670938"/>
                <a:ext cx="2480345" cy="341552"/>
              </a:xfrm>
              <a:custGeom>
                <a:avLst/>
                <a:gdLst>
                  <a:gd name="connsiteX0" fmla="*/ 0 w 2820374"/>
                  <a:gd name="connsiteY0" fmla="*/ 0 h 355689"/>
                  <a:gd name="connsiteX1" fmla="*/ 2820374 w 2820374"/>
                  <a:gd name="connsiteY1" fmla="*/ 0 h 355689"/>
                  <a:gd name="connsiteX2" fmla="*/ 2820374 w 2820374"/>
                  <a:gd name="connsiteY2" fmla="*/ 355689 h 355689"/>
                  <a:gd name="connsiteX3" fmla="*/ 0 w 2820374"/>
                  <a:gd name="connsiteY3" fmla="*/ 355689 h 355689"/>
                  <a:gd name="connsiteX4" fmla="*/ 0 w 2820374"/>
                  <a:gd name="connsiteY4" fmla="*/ 0 h 355689"/>
                  <a:gd name="connsiteX0" fmla="*/ 432667 w 2820374"/>
                  <a:gd name="connsiteY0" fmla="*/ 8921 h 355689"/>
                  <a:gd name="connsiteX1" fmla="*/ 2820374 w 2820374"/>
                  <a:gd name="connsiteY1" fmla="*/ 0 h 355689"/>
                  <a:gd name="connsiteX2" fmla="*/ 2820374 w 2820374"/>
                  <a:gd name="connsiteY2" fmla="*/ 355689 h 355689"/>
                  <a:gd name="connsiteX3" fmla="*/ 0 w 2820374"/>
                  <a:gd name="connsiteY3" fmla="*/ 355689 h 355689"/>
                  <a:gd name="connsiteX4" fmla="*/ 432667 w 2820374"/>
                  <a:gd name="connsiteY4" fmla="*/ 8921 h 355689"/>
                  <a:gd name="connsiteX0" fmla="*/ 276550 w 2664257"/>
                  <a:gd name="connsiteY0" fmla="*/ 8921 h 355689"/>
                  <a:gd name="connsiteX1" fmla="*/ 2664257 w 2664257"/>
                  <a:gd name="connsiteY1" fmla="*/ 0 h 355689"/>
                  <a:gd name="connsiteX2" fmla="*/ 2664257 w 2664257"/>
                  <a:gd name="connsiteY2" fmla="*/ 355689 h 355689"/>
                  <a:gd name="connsiteX3" fmla="*/ 0 w 2664257"/>
                  <a:gd name="connsiteY3" fmla="*/ 346768 h 355689"/>
                  <a:gd name="connsiteX4" fmla="*/ 276550 w 2664257"/>
                  <a:gd name="connsiteY4" fmla="*/ 8921 h 355689"/>
                  <a:gd name="connsiteX0" fmla="*/ 276550 w 2664257"/>
                  <a:gd name="connsiteY0" fmla="*/ 4461 h 351229"/>
                  <a:gd name="connsiteX1" fmla="*/ 2213747 w 2664257"/>
                  <a:gd name="connsiteY1" fmla="*/ 0 h 351229"/>
                  <a:gd name="connsiteX2" fmla="*/ 2664257 w 2664257"/>
                  <a:gd name="connsiteY2" fmla="*/ 351229 h 351229"/>
                  <a:gd name="connsiteX3" fmla="*/ 0 w 2664257"/>
                  <a:gd name="connsiteY3" fmla="*/ 342308 h 351229"/>
                  <a:gd name="connsiteX4" fmla="*/ 276550 w 2664257"/>
                  <a:gd name="connsiteY4" fmla="*/ 4461 h 351229"/>
                  <a:gd name="connsiteX0" fmla="*/ 276550 w 2485837"/>
                  <a:gd name="connsiteY0" fmla="*/ 4461 h 346768"/>
                  <a:gd name="connsiteX1" fmla="*/ 2213747 w 2485837"/>
                  <a:gd name="connsiteY1" fmla="*/ 0 h 346768"/>
                  <a:gd name="connsiteX2" fmla="*/ 2485837 w 2485837"/>
                  <a:gd name="connsiteY2" fmla="*/ 346768 h 346768"/>
                  <a:gd name="connsiteX3" fmla="*/ 0 w 2485837"/>
                  <a:gd name="connsiteY3" fmla="*/ 342308 h 346768"/>
                  <a:gd name="connsiteX4" fmla="*/ 276550 w 2485837"/>
                  <a:gd name="connsiteY4" fmla="*/ 4461 h 346768"/>
                  <a:gd name="connsiteX0" fmla="*/ 276550 w 2485837"/>
                  <a:gd name="connsiteY0" fmla="*/ 1 h 342308"/>
                  <a:gd name="connsiteX1" fmla="*/ 2186984 w 2485837"/>
                  <a:gd name="connsiteY1" fmla="*/ 0 h 342308"/>
                  <a:gd name="connsiteX2" fmla="*/ 2485837 w 2485837"/>
                  <a:gd name="connsiteY2" fmla="*/ 342308 h 342308"/>
                  <a:gd name="connsiteX3" fmla="*/ 0 w 2485837"/>
                  <a:gd name="connsiteY3" fmla="*/ 337848 h 342308"/>
                  <a:gd name="connsiteX4" fmla="*/ 276550 w 2485837"/>
                  <a:gd name="connsiteY4" fmla="*/ 1 h 34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837" h="342308">
                    <a:moveTo>
                      <a:pt x="276550" y="1"/>
                    </a:moveTo>
                    <a:lnTo>
                      <a:pt x="2186984" y="0"/>
                    </a:lnTo>
                    <a:lnTo>
                      <a:pt x="2485837" y="342308"/>
                    </a:lnTo>
                    <a:lnTo>
                      <a:pt x="0" y="337848"/>
                    </a:lnTo>
                    <a:lnTo>
                      <a:pt x="276550" y="1"/>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37" name="Group 136"/>
              <p:cNvGrpSpPr/>
              <p:nvPr/>
            </p:nvGrpSpPr>
            <p:grpSpPr>
              <a:xfrm flipH="1">
                <a:off x="9251849" y="4235118"/>
                <a:ext cx="2508365" cy="1356398"/>
                <a:chOff x="9610804" y="4481600"/>
                <a:chExt cx="2567274" cy="1388256"/>
              </a:xfrm>
            </p:grpSpPr>
            <p:grpSp>
              <p:nvGrpSpPr>
                <p:cNvPr id="143" name="Group 142"/>
                <p:cNvGrpSpPr/>
                <p:nvPr/>
              </p:nvGrpSpPr>
              <p:grpSpPr>
                <a:xfrm>
                  <a:off x="9610804" y="4481600"/>
                  <a:ext cx="2567274" cy="666918"/>
                  <a:chOff x="9476996" y="4481599"/>
                  <a:chExt cx="2713388" cy="704875"/>
                </a:xfrm>
                <a:solidFill>
                  <a:schemeClr val="bg2"/>
                </a:solidFill>
              </p:grpSpPr>
              <p:sp>
                <p:nvSpPr>
                  <p:cNvPr id="149" name="Rectangle 148"/>
                  <p:cNvSpPr/>
                  <p:nvPr/>
                </p:nvSpPr>
                <p:spPr bwMode="auto">
                  <a:xfrm>
                    <a:off x="9476996" y="4481599"/>
                    <a:ext cx="704875" cy="70487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0" name="Rectangle 149"/>
                  <p:cNvSpPr/>
                  <p:nvPr/>
                </p:nvSpPr>
                <p:spPr bwMode="auto">
                  <a:xfrm>
                    <a:off x="10241657"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1" name="Rectangle 150"/>
                  <p:cNvSpPr/>
                  <p:nvPr/>
                </p:nvSpPr>
                <p:spPr bwMode="auto">
                  <a:xfrm>
                    <a:off x="11006318"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2" name="Rectangle 123"/>
                  <p:cNvSpPr/>
                  <p:nvPr/>
                </p:nvSpPr>
                <p:spPr bwMode="auto">
                  <a:xfrm>
                    <a:off x="11770980" y="4481599"/>
                    <a:ext cx="419404"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281129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04" h="704875">
                        <a:moveTo>
                          <a:pt x="0" y="0"/>
                        </a:moveTo>
                        <a:lnTo>
                          <a:pt x="281129" y="0"/>
                        </a:lnTo>
                        <a:cubicBezTo>
                          <a:pt x="327221" y="233471"/>
                          <a:pt x="413457" y="355431"/>
                          <a:pt x="419404" y="70041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144" name="Group 143"/>
                <p:cNvGrpSpPr/>
                <p:nvPr/>
              </p:nvGrpSpPr>
              <p:grpSpPr>
                <a:xfrm>
                  <a:off x="9610804" y="5202938"/>
                  <a:ext cx="2558833" cy="666918"/>
                  <a:chOff x="9469082" y="4427995"/>
                  <a:chExt cx="2704467" cy="704875"/>
                </a:xfrm>
                <a:solidFill>
                  <a:schemeClr val="bg2"/>
                </a:solidFill>
              </p:grpSpPr>
              <p:sp>
                <p:nvSpPr>
                  <p:cNvPr id="145" name="Rectangle 144"/>
                  <p:cNvSpPr/>
                  <p:nvPr/>
                </p:nvSpPr>
                <p:spPr bwMode="auto">
                  <a:xfrm>
                    <a:off x="946908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6" name="Rectangle 145"/>
                  <p:cNvSpPr/>
                  <p:nvPr/>
                </p:nvSpPr>
                <p:spPr bwMode="auto">
                  <a:xfrm>
                    <a:off x="1023374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7" name="Rectangle 146"/>
                  <p:cNvSpPr/>
                  <p:nvPr/>
                </p:nvSpPr>
                <p:spPr bwMode="auto">
                  <a:xfrm>
                    <a:off x="10998403"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8" name="Rectangle 131"/>
                  <p:cNvSpPr/>
                  <p:nvPr/>
                </p:nvSpPr>
                <p:spPr bwMode="auto">
                  <a:xfrm>
                    <a:off x="11763066" y="4427995"/>
                    <a:ext cx="410483"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3382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 h 704875"/>
                      <a:gd name="connsiteX2" fmla="*/ 704875 w 704875"/>
                      <a:gd name="connsiteY2" fmla="*/ 704875 h 704875"/>
                      <a:gd name="connsiteX3" fmla="*/ 0 w 704875"/>
                      <a:gd name="connsiteY3" fmla="*/ 704875 h 704875"/>
                      <a:gd name="connsiteX4" fmla="*/ 0 w 704875"/>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38393 w 410483"/>
                      <a:gd name="connsiteY2" fmla="*/ 695954 h 704875"/>
                      <a:gd name="connsiteX3" fmla="*/ 0 w 410483"/>
                      <a:gd name="connsiteY3" fmla="*/ 704875 h 704875"/>
                      <a:gd name="connsiteX4" fmla="*/ 0 w 410483"/>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483" h="704875">
                        <a:moveTo>
                          <a:pt x="0" y="0"/>
                        </a:moveTo>
                        <a:lnTo>
                          <a:pt x="410483" y="1"/>
                        </a:lnTo>
                        <a:cubicBezTo>
                          <a:pt x="325734" y="231985"/>
                          <a:pt x="303430" y="441667"/>
                          <a:pt x="138393" y="69595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sp>
            <p:nvSpPr>
              <p:cNvPr id="138" name="Oval 137"/>
              <p:cNvSpPr/>
              <p:nvPr/>
            </p:nvSpPr>
            <p:spPr bwMode="auto">
              <a:xfrm>
                <a:off x="9269282" y="3296296"/>
                <a:ext cx="2879702" cy="2879702"/>
              </a:xfrm>
              <a:prstGeom prst="ellipse">
                <a:avLst/>
              </a:prstGeom>
              <a:no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221" name="Freeform 5"/>
            <p:cNvSpPr>
              <a:spLocks/>
            </p:cNvSpPr>
            <p:nvPr/>
          </p:nvSpPr>
          <p:spPr bwMode="auto">
            <a:xfrm>
              <a:off x="9741245" y="4676946"/>
              <a:ext cx="1016966" cy="1388095"/>
            </a:xfrm>
            <a:custGeom>
              <a:avLst/>
              <a:gdLst>
                <a:gd name="T0" fmla="*/ 687 w 954"/>
                <a:gd name="T1" fmla="*/ 525 h 1304"/>
                <a:gd name="T2" fmla="*/ 685 w 954"/>
                <a:gd name="T3" fmla="*/ 525 h 1304"/>
                <a:gd name="T4" fmla="*/ 651 w 954"/>
                <a:gd name="T5" fmla="*/ 523 h 1304"/>
                <a:gd name="T6" fmla="*/ 632 w 954"/>
                <a:gd name="T7" fmla="*/ 490 h 1304"/>
                <a:gd name="T8" fmla="*/ 621 w 954"/>
                <a:gd name="T9" fmla="*/ 475 h 1304"/>
                <a:gd name="T10" fmla="*/ 521 w 954"/>
                <a:gd name="T11" fmla="*/ 438 h 1304"/>
                <a:gd name="T12" fmla="*/ 488 w 954"/>
                <a:gd name="T13" fmla="*/ 445 h 1304"/>
                <a:gd name="T14" fmla="*/ 488 w 954"/>
                <a:gd name="T15" fmla="*/ 442 h 1304"/>
                <a:gd name="T16" fmla="*/ 488 w 954"/>
                <a:gd name="T17" fmla="*/ 440 h 1304"/>
                <a:gd name="T18" fmla="*/ 384 w 954"/>
                <a:gd name="T19" fmla="*/ 49 h 1304"/>
                <a:gd name="T20" fmla="*/ 318 w 954"/>
                <a:gd name="T21" fmla="*/ 4 h 1304"/>
                <a:gd name="T22" fmla="*/ 275 w 954"/>
                <a:gd name="T23" fmla="*/ 71 h 1304"/>
                <a:gd name="T24" fmla="*/ 377 w 954"/>
                <a:gd name="T25" fmla="*/ 617 h 1304"/>
                <a:gd name="T26" fmla="*/ 379 w 954"/>
                <a:gd name="T27" fmla="*/ 636 h 1304"/>
                <a:gd name="T28" fmla="*/ 353 w 954"/>
                <a:gd name="T29" fmla="*/ 703 h 1304"/>
                <a:gd name="T30" fmla="*/ 337 w 954"/>
                <a:gd name="T31" fmla="*/ 715 h 1304"/>
                <a:gd name="T32" fmla="*/ 251 w 954"/>
                <a:gd name="T33" fmla="*/ 693 h 1304"/>
                <a:gd name="T34" fmla="*/ 178 w 954"/>
                <a:gd name="T35" fmla="*/ 589 h 1304"/>
                <a:gd name="T36" fmla="*/ 142 w 954"/>
                <a:gd name="T37" fmla="*/ 532 h 1304"/>
                <a:gd name="T38" fmla="*/ 22 w 954"/>
                <a:gd name="T39" fmla="*/ 509 h 1304"/>
                <a:gd name="T40" fmla="*/ 10 w 954"/>
                <a:gd name="T41" fmla="*/ 554 h 1304"/>
                <a:gd name="T42" fmla="*/ 52 w 954"/>
                <a:gd name="T43" fmla="*/ 615 h 1304"/>
                <a:gd name="T44" fmla="*/ 74 w 954"/>
                <a:gd name="T45" fmla="*/ 670 h 1304"/>
                <a:gd name="T46" fmla="*/ 90 w 954"/>
                <a:gd name="T47" fmla="*/ 722 h 1304"/>
                <a:gd name="T48" fmla="*/ 116 w 954"/>
                <a:gd name="T49" fmla="*/ 762 h 1304"/>
                <a:gd name="T50" fmla="*/ 166 w 954"/>
                <a:gd name="T51" fmla="*/ 845 h 1304"/>
                <a:gd name="T52" fmla="*/ 249 w 954"/>
                <a:gd name="T53" fmla="*/ 999 h 1304"/>
                <a:gd name="T54" fmla="*/ 403 w 954"/>
                <a:gd name="T55" fmla="*/ 1136 h 1304"/>
                <a:gd name="T56" fmla="*/ 457 w 954"/>
                <a:gd name="T57" fmla="*/ 1190 h 1304"/>
                <a:gd name="T58" fmla="*/ 479 w 954"/>
                <a:gd name="T59" fmla="*/ 1304 h 1304"/>
                <a:gd name="T60" fmla="*/ 933 w 954"/>
                <a:gd name="T61" fmla="*/ 1226 h 1304"/>
                <a:gd name="T62" fmla="*/ 912 w 954"/>
                <a:gd name="T63" fmla="*/ 1129 h 1304"/>
                <a:gd name="T64" fmla="*/ 909 w 954"/>
                <a:gd name="T65" fmla="*/ 1126 h 1304"/>
                <a:gd name="T66" fmla="*/ 931 w 954"/>
                <a:gd name="T67" fmla="*/ 1053 h 1304"/>
                <a:gd name="T68" fmla="*/ 940 w 954"/>
                <a:gd name="T69" fmla="*/ 991 h 1304"/>
                <a:gd name="T70" fmla="*/ 947 w 954"/>
                <a:gd name="T71" fmla="*/ 831 h 1304"/>
                <a:gd name="T72" fmla="*/ 950 w 954"/>
                <a:gd name="T73" fmla="*/ 802 h 1304"/>
                <a:gd name="T74" fmla="*/ 872 w 954"/>
                <a:gd name="T75" fmla="*/ 684 h 1304"/>
                <a:gd name="T76" fmla="*/ 869 w 954"/>
                <a:gd name="T77" fmla="*/ 681 h 1304"/>
                <a:gd name="T78" fmla="*/ 805 w 954"/>
                <a:gd name="T79" fmla="*/ 589 h 1304"/>
                <a:gd name="T80" fmla="*/ 687 w 954"/>
                <a:gd name="T81" fmla="*/ 525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1304">
                  <a:moveTo>
                    <a:pt x="687" y="525"/>
                  </a:moveTo>
                  <a:cubicBezTo>
                    <a:pt x="685" y="525"/>
                    <a:pt x="685" y="525"/>
                    <a:pt x="685" y="525"/>
                  </a:cubicBezTo>
                  <a:cubicBezTo>
                    <a:pt x="651" y="523"/>
                    <a:pt x="651" y="523"/>
                    <a:pt x="651" y="523"/>
                  </a:cubicBezTo>
                  <a:cubicBezTo>
                    <a:pt x="632" y="490"/>
                    <a:pt x="632" y="490"/>
                    <a:pt x="632" y="490"/>
                  </a:cubicBezTo>
                  <a:cubicBezTo>
                    <a:pt x="628" y="485"/>
                    <a:pt x="625" y="480"/>
                    <a:pt x="621" y="475"/>
                  </a:cubicBezTo>
                  <a:cubicBezTo>
                    <a:pt x="592" y="452"/>
                    <a:pt x="559" y="438"/>
                    <a:pt x="521" y="438"/>
                  </a:cubicBezTo>
                  <a:cubicBezTo>
                    <a:pt x="488" y="445"/>
                    <a:pt x="488" y="445"/>
                    <a:pt x="488" y="445"/>
                  </a:cubicBezTo>
                  <a:cubicBezTo>
                    <a:pt x="488" y="442"/>
                    <a:pt x="488" y="442"/>
                    <a:pt x="488" y="442"/>
                  </a:cubicBezTo>
                  <a:cubicBezTo>
                    <a:pt x="488" y="440"/>
                    <a:pt x="488" y="440"/>
                    <a:pt x="488" y="440"/>
                  </a:cubicBezTo>
                  <a:cubicBezTo>
                    <a:pt x="384" y="49"/>
                    <a:pt x="384" y="49"/>
                    <a:pt x="384" y="49"/>
                  </a:cubicBezTo>
                  <a:cubicBezTo>
                    <a:pt x="370" y="0"/>
                    <a:pt x="346" y="0"/>
                    <a:pt x="318" y="4"/>
                  </a:cubicBezTo>
                  <a:cubicBezTo>
                    <a:pt x="318" y="4"/>
                    <a:pt x="263" y="12"/>
                    <a:pt x="275" y="71"/>
                  </a:cubicBezTo>
                  <a:cubicBezTo>
                    <a:pt x="377" y="617"/>
                    <a:pt x="377" y="617"/>
                    <a:pt x="377" y="617"/>
                  </a:cubicBezTo>
                  <a:cubicBezTo>
                    <a:pt x="377" y="625"/>
                    <a:pt x="379" y="629"/>
                    <a:pt x="379" y="636"/>
                  </a:cubicBezTo>
                  <a:cubicBezTo>
                    <a:pt x="379" y="660"/>
                    <a:pt x="370" y="684"/>
                    <a:pt x="353" y="703"/>
                  </a:cubicBezTo>
                  <a:cubicBezTo>
                    <a:pt x="348" y="710"/>
                    <a:pt x="341" y="715"/>
                    <a:pt x="337" y="715"/>
                  </a:cubicBezTo>
                  <a:cubicBezTo>
                    <a:pt x="306" y="719"/>
                    <a:pt x="277" y="712"/>
                    <a:pt x="251" y="693"/>
                  </a:cubicBezTo>
                  <a:cubicBezTo>
                    <a:pt x="221" y="670"/>
                    <a:pt x="199" y="620"/>
                    <a:pt x="178" y="589"/>
                  </a:cubicBezTo>
                  <a:cubicBezTo>
                    <a:pt x="166" y="570"/>
                    <a:pt x="157" y="549"/>
                    <a:pt x="142" y="532"/>
                  </a:cubicBezTo>
                  <a:cubicBezTo>
                    <a:pt x="114" y="504"/>
                    <a:pt x="57" y="480"/>
                    <a:pt x="22" y="509"/>
                  </a:cubicBezTo>
                  <a:cubicBezTo>
                    <a:pt x="12" y="518"/>
                    <a:pt x="0" y="542"/>
                    <a:pt x="10" y="554"/>
                  </a:cubicBezTo>
                  <a:cubicBezTo>
                    <a:pt x="24" y="573"/>
                    <a:pt x="43" y="594"/>
                    <a:pt x="52" y="615"/>
                  </a:cubicBezTo>
                  <a:cubicBezTo>
                    <a:pt x="62" y="632"/>
                    <a:pt x="67" y="651"/>
                    <a:pt x="74" y="670"/>
                  </a:cubicBezTo>
                  <a:cubicBezTo>
                    <a:pt x="78" y="681"/>
                    <a:pt x="81" y="712"/>
                    <a:pt x="90" y="722"/>
                  </a:cubicBezTo>
                  <a:cubicBezTo>
                    <a:pt x="100" y="731"/>
                    <a:pt x="109" y="750"/>
                    <a:pt x="116" y="762"/>
                  </a:cubicBezTo>
                  <a:cubicBezTo>
                    <a:pt x="133" y="788"/>
                    <a:pt x="157" y="816"/>
                    <a:pt x="166" y="845"/>
                  </a:cubicBezTo>
                  <a:cubicBezTo>
                    <a:pt x="199" y="892"/>
                    <a:pt x="213" y="954"/>
                    <a:pt x="249" y="999"/>
                  </a:cubicBezTo>
                  <a:cubicBezTo>
                    <a:pt x="294" y="1053"/>
                    <a:pt x="337" y="1105"/>
                    <a:pt x="403" y="1136"/>
                  </a:cubicBezTo>
                  <a:cubicBezTo>
                    <a:pt x="426" y="1150"/>
                    <a:pt x="443" y="1169"/>
                    <a:pt x="457" y="1190"/>
                  </a:cubicBezTo>
                  <a:cubicBezTo>
                    <a:pt x="479" y="1304"/>
                    <a:pt x="479" y="1304"/>
                    <a:pt x="479" y="1304"/>
                  </a:cubicBezTo>
                  <a:cubicBezTo>
                    <a:pt x="561" y="1290"/>
                    <a:pt x="898" y="1233"/>
                    <a:pt x="933" y="1226"/>
                  </a:cubicBezTo>
                  <a:cubicBezTo>
                    <a:pt x="912" y="1129"/>
                    <a:pt x="912" y="1129"/>
                    <a:pt x="912" y="1129"/>
                  </a:cubicBezTo>
                  <a:cubicBezTo>
                    <a:pt x="909" y="1126"/>
                    <a:pt x="909" y="1126"/>
                    <a:pt x="909" y="1126"/>
                  </a:cubicBezTo>
                  <a:cubicBezTo>
                    <a:pt x="919" y="1103"/>
                    <a:pt x="924" y="1077"/>
                    <a:pt x="931" y="1053"/>
                  </a:cubicBezTo>
                  <a:cubicBezTo>
                    <a:pt x="936" y="1032"/>
                    <a:pt x="940" y="1013"/>
                    <a:pt x="940" y="991"/>
                  </a:cubicBezTo>
                  <a:cubicBezTo>
                    <a:pt x="943" y="939"/>
                    <a:pt x="945" y="885"/>
                    <a:pt x="947" y="831"/>
                  </a:cubicBezTo>
                  <a:cubicBezTo>
                    <a:pt x="947" y="821"/>
                    <a:pt x="947" y="812"/>
                    <a:pt x="950" y="802"/>
                  </a:cubicBezTo>
                  <a:cubicBezTo>
                    <a:pt x="954" y="771"/>
                    <a:pt x="936" y="688"/>
                    <a:pt x="872" y="684"/>
                  </a:cubicBezTo>
                  <a:cubicBezTo>
                    <a:pt x="869" y="684"/>
                    <a:pt x="869" y="684"/>
                    <a:pt x="869" y="681"/>
                  </a:cubicBezTo>
                  <a:cubicBezTo>
                    <a:pt x="853" y="648"/>
                    <a:pt x="831" y="617"/>
                    <a:pt x="805" y="589"/>
                  </a:cubicBezTo>
                  <a:cubicBezTo>
                    <a:pt x="775" y="556"/>
                    <a:pt x="732" y="532"/>
                    <a:pt x="687" y="525"/>
                  </a:cubicBezTo>
                  <a:close/>
                </a:path>
              </a:pathLst>
            </a:custGeom>
            <a:solidFill>
              <a:schemeClr val="bg2"/>
            </a:solidFill>
            <a:ln w="285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 name="Group 1"/>
          <p:cNvGrpSpPr/>
          <p:nvPr/>
        </p:nvGrpSpPr>
        <p:grpSpPr>
          <a:xfrm>
            <a:off x="325131" y="3296296"/>
            <a:ext cx="2880360" cy="2880360"/>
            <a:chOff x="325131" y="3296296"/>
            <a:chExt cx="2880360" cy="2880360"/>
          </a:xfrm>
        </p:grpSpPr>
        <p:sp>
          <p:nvSpPr>
            <p:cNvPr id="204" name="Oval 203"/>
            <p:cNvSpPr/>
            <p:nvPr/>
          </p:nvSpPr>
          <p:spPr bwMode="auto">
            <a:xfrm>
              <a:off x="325131" y="3296296"/>
              <a:ext cx="2880360" cy="288036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05" name="Group 4"/>
            <p:cNvGrpSpPr>
              <a:grpSpLocks noChangeAspect="1"/>
            </p:cNvGrpSpPr>
            <p:nvPr/>
          </p:nvGrpSpPr>
          <p:grpSpPr bwMode="auto">
            <a:xfrm>
              <a:off x="1232924" y="4912596"/>
              <a:ext cx="1064774" cy="1058056"/>
              <a:chOff x="399" y="1105"/>
              <a:chExt cx="1585" cy="1575"/>
            </a:xfrm>
            <a:solidFill>
              <a:srgbClr val="969696"/>
            </a:solidFill>
          </p:grpSpPr>
          <p:sp>
            <p:nvSpPr>
              <p:cNvPr id="218"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19"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20"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06" name="Group 205"/>
            <p:cNvGrpSpPr/>
            <p:nvPr/>
          </p:nvGrpSpPr>
          <p:grpSpPr>
            <a:xfrm>
              <a:off x="602418" y="4664783"/>
              <a:ext cx="437223" cy="506564"/>
              <a:chOff x="5394326" y="4936834"/>
              <a:chExt cx="720725" cy="835025"/>
            </a:xfrm>
            <a:solidFill>
              <a:schemeClr val="bg2"/>
            </a:solidFill>
          </p:grpSpPr>
          <p:sp>
            <p:nvSpPr>
              <p:cNvPr id="216"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17"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207" name="Freeform 6"/>
            <p:cNvSpPr>
              <a:spLocks noEditPoints="1"/>
            </p:cNvSpPr>
            <p:nvPr/>
          </p:nvSpPr>
          <p:spPr bwMode="auto">
            <a:xfrm>
              <a:off x="843675" y="3912646"/>
              <a:ext cx="379249" cy="461628"/>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208" name="Freeform 19"/>
            <p:cNvSpPr>
              <a:spLocks noEditPoints="1"/>
            </p:cNvSpPr>
            <p:nvPr/>
          </p:nvSpPr>
          <p:spPr bwMode="auto">
            <a:xfrm>
              <a:off x="1457704" y="3614070"/>
              <a:ext cx="618522" cy="5093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10" name="Group 209"/>
            <p:cNvGrpSpPr/>
            <p:nvPr/>
          </p:nvGrpSpPr>
          <p:grpSpPr>
            <a:xfrm>
              <a:off x="1094580" y="4167063"/>
              <a:ext cx="1269583" cy="1122073"/>
              <a:chOff x="1119447" y="2626822"/>
              <a:chExt cx="1310504" cy="1158240"/>
            </a:xfrm>
          </p:grpSpPr>
          <p:cxnSp>
            <p:nvCxnSpPr>
              <p:cNvPr id="211" name="Straight Connector 210"/>
              <p:cNvCxnSpPr/>
              <p:nvPr/>
            </p:nvCxnSpPr>
            <p:spPr>
              <a:xfrm>
                <a:off x="1119447" y="3619790"/>
                <a:ext cx="286035" cy="165272"/>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1313411" y="2909455"/>
                <a:ext cx="365448" cy="543098"/>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811797" y="2626822"/>
                <a:ext cx="0" cy="714894"/>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flipH="1">
                <a:off x="1950863" y="2936786"/>
                <a:ext cx="342418" cy="510201"/>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flipH="1">
                <a:off x="2186813" y="3616910"/>
                <a:ext cx="243138" cy="149946"/>
              </a:xfrm>
              <a:prstGeom prst="line">
                <a:avLst/>
              </a:prstGeom>
              <a:ln w="28575">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99" name="Freeform 5"/>
            <p:cNvSpPr>
              <a:spLocks noEditPoints="1"/>
            </p:cNvSpPr>
            <p:nvPr/>
          </p:nvSpPr>
          <p:spPr bwMode="auto">
            <a:xfrm>
              <a:off x="2336578" y="3846256"/>
              <a:ext cx="427200" cy="298443"/>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00" name="Group 199"/>
            <p:cNvGrpSpPr/>
            <p:nvPr/>
          </p:nvGrpSpPr>
          <p:grpSpPr>
            <a:xfrm>
              <a:off x="2181675" y="4144232"/>
              <a:ext cx="366037" cy="242717"/>
              <a:chOff x="3067050" y="1341438"/>
              <a:chExt cx="6219826" cy="4124325"/>
            </a:xfrm>
            <a:solidFill>
              <a:srgbClr val="969696"/>
            </a:solidFill>
          </p:grpSpPr>
          <p:sp>
            <p:nvSpPr>
              <p:cNvPr id="201"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02"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03"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8"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22" name="Group 221"/>
          <p:cNvGrpSpPr/>
          <p:nvPr/>
        </p:nvGrpSpPr>
        <p:grpSpPr>
          <a:xfrm>
            <a:off x="215207" y="199825"/>
            <a:ext cx="1731568" cy="1731568"/>
            <a:chOff x="325131" y="3296296"/>
            <a:chExt cx="2880360" cy="2880360"/>
          </a:xfrm>
        </p:grpSpPr>
        <p:sp>
          <p:nvSpPr>
            <p:cNvPr id="223" name="Oval 222"/>
            <p:cNvSpPr/>
            <p:nvPr/>
          </p:nvSpPr>
          <p:spPr bwMode="auto">
            <a:xfrm>
              <a:off x="325131" y="3296296"/>
              <a:ext cx="2880360" cy="288036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24" name="Group 4"/>
            <p:cNvGrpSpPr>
              <a:grpSpLocks noChangeAspect="1"/>
            </p:cNvGrpSpPr>
            <p:nvPr/>
          </p:nvGrpSpPr>
          <p:grpSpPr bwMode="auto">
            <a:xfrm>
              <a:off x="1232924" y="4912596"/>
              <a:ext cx="1064774" cy="1058056"/>
              <a:chOff x="399" y="1105"/>
              <a:chExt cx="1585" cy="1575"/>
            </a:xfrm>
            <a:solidFill>
              <a:srgbClr val="969696"/>
            </a:solidFill>
          </p:grpSpPr>
          <p:sp>
            <p:nvSpPr>
              <p:cNvPr id="242"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43"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44"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25" name="Group 224"/>
            <p:cNvGrpSpPr/>
            <p:nvPr/>
          </p:nvGrpSpPr>
          <p:grpSpPr>
            <a:xfrm>
              <a:off x="602418" y="4664783"/>
              <a:ext cx="437223" cy="506564"/>
              <a:chOff x="5394326" y="4936834"/>
              <a:chExt cx="720725" cy="835025"/>
            </a:xfrm>
            <a:solidFill>
              <a:schemeClr val="bg2"/>
            </a:solidFill>
          </p:grpSpPr>
          <p:sp>
            <p:nvSpPr>
              <p:cNvPr id="240"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41"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226" name="Freeform 6"/>
            <p:cNvSpPr>
              <a:spLocks noEditPoints="1"/>
            </p:cNvSpPr>
            <p:nvPr/>
          </p:nvSpPr>
          <p:spPr bwMode="auto">
            <a:xfrm>
              <a:off x="843675" y="3912646"/>
              <a:ext cx="379249" cy="461628"/>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227" name="Freeform 19"/>
            <p:cNvSpPr>
              <a:spLocks noEditPoints="1"/>
            </p:cNvSpPr>
            <p:nvPr/>
          </p:nvSpPr>
          <p:spPr bwMode="auto">
            <a:xfrm>
              <a:off x="1457704" y="3614070"/>
              <a:ext cx="618522" cy="5093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28" name="Group 227"/>
            <p:cNvGrpSpPr/>
            <p:nvPr/>
          </p:nvGrpSpPr>
          <p:grpSpPr>
            <a:xfrm>
              <a:off x="1094580" y="4167063"/>
              <a:ext cx="1269583" cy="1122073"/>
              <a:chOff x="1119447" y="2626822"/>
              <a:chExt cx="1310504" cy="1158240"/>
            </a:xfrm>
          </p:grpSpPr>
          <p:cxnSp>
            <p:nvCxnSpPr>
              <p:cNvPr id="235" name="Straight Connector 234"/>
              <p:cNvCxnSpPr/>
              <p:nvPr/>
            </p:nvCxnSpPr>
            <p:spPr>
              <a:xfrm>
                <a:off x="1119447" y="3619790"/>
                <a:ext cx="286035" cy="165272"/>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1313411" y="2909455"/>
                <a:ext cx="365448" cy="543098"/>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1811797" y="2626822"/>
                <a:ext cx="0" cy="714894"/>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flipH="1">
                <a:off x="1950863" y="2936786"/>
                <a:ext cx="342418" cy="510201"/>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H="1">
                <a:off x="2186813" y="3616910"/>
                <a:ext cx="243138" cy="149946"/>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29" name="Freeform 5"/>
            <p:cNvSpPr>
              <a:spLocks noEditPoints="1"/>
            </p:cNvSpPr>
            <p:nvPr/>
          </p:nvSpPr>
          <p:spPr bwMode="auto">
            <a:xfrm>
              <a:off x="2336578" y="3846256"/>
              <a:ext cx="427200" cy="298443"/>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30" name="Group 229"/>
            <p:cNvGrpSpPr/>
            <p:nvPr/>
          </p:nvGrpSpPr>
          <p:grpSpPr>
            <a:xfrm>
              <a:off x="2181675" y="4144232"/>
              <a:ext cx="366037" cy="242717"/>
              <a:chOff x="3067050" y="1341438"/>
              <a:chExt cx="6219826" cy="4124325"/>
            </a:xfrm>
            <a:solidFill>
              <a:srgbClr val="969696"/>
            </a:solidFill>
          </p:grpSpPr>
          <p:sp>
            <p:nvSpPr>
              <p:cNvPr id="232"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33"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34"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231"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7272719"/>
      </p:ext>
    </p:extLst>
  </p:cSld>
  <p:clrMapOvr>
    <a:masterClrMapping/>
  </p:clrMapOvr>
  <mc:AlternateContent xmlns:mc="http://schemas.openxmlformats.org/markup-compatibility/2006" xmlns:p14="http://schemas.microsoft.com/office/powerpoint/2010/main">
    <mc:Choice Requires="p14">
      <p:transition p14:dur="0" advClick="0" advTm="0"/>
    </mc:Choice>
    <mc:Fallback xmlns="">
      <p:transition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fill="hold" nodeType="withEffect">
                                  <p:stCondLst>
                                    <p:cond delay="0"/>
                                  </p:stCondLst>
                                  <p:childTnLst>
                                    <p:anim calcmode="lin" valueType="num">
                                      <p:cBhvr additive="base">
                                        <p:cTn id="6" dur="500"/>
                                        <p:tgtEl>
                                          <p:spTgt spid="88"/>
                                        </p:tgtEl>
                                        <p:attrNameLst>
                                          <p:attrName>ppt_x</p:attrName>
                                        </p:attrNameLst>
                                      </p:cBhvr>
                                      <p:tavLst>
                                        <p:tav tm="0">
                                          <p:val>
                                            <p:strVal val="ppt_x"/>
                                          </p:val>
                                        </p:tav>
                                        <p:tav tm="100000">
                                          <p:val>
                                            <p:strVal val="ppt_x"/>
                                          </p:val>
                                        </p:tav>
                                      </p:tavLst>
                                    </p:anim>
                                    <p:anim calcmode="lin" valueType="num">
                                      <p:cBhvr additive="base">
                                        <p:cTn id="7" dur="500"/>
                                        <p:tgtEl>
                                          <p:spTgt spid="88"/>
                                        </p:tgtEl>
                                        <p:attrNameLst>
                                          <p:attrName>ppt_y</p:attrName>
                                        </p:attrNameLst>
                                      </p:cBhvr>
                                      <p:tavLst>
                                        <p:tav tm="0">
                                          <p:val>
                                            <p:strVal val="ppt_y"/>
                                          </p:val>
                                        </p:tav>
                                        <p:tav tm="100000">
                                          <p:val>
                                            <p:strVal val="0-ppt_h/2"/>
                                          </p:val>
                                        </p:tav>
                                      </p:tavLst>
                                    </p:anim>
                                    <p:set>
                                      <p:cBhvr>
                                        <p:cTn id="8" dur="1" fill="hold">
                                          <p:stCondLst>
                                            <p:cond delay="499"/>
                                          </p:stCondLst>
                                        </p:cTn>
                                        <p:tgtEl>
                                          <p:spTgt spid="88"/>
                                        </p:tgtEl>
                                        <p:attrNameLst>
                                          <p:attrName>style.visibility</p:attrName>
                                        </p:attrNameLst>
                                      </p:cBhvr>
                                      <p:to>
                                        <p:strVal val="hidden"/>
                                      </p:to>
                                    </p:set>
                                  </p:childTnLst>
                                </p:cTn>
                              </p:par>
                              <p:par>
                                <p:cTn id="9" presetID="10" presetClass="exit" presetSubtype="0" fill="hold" nodeType="withEffect">
                                  <p:stCondLst>
                                    <p:cond delay="0"/>
                                  </p:stCondLst>
                                  <p:childTnLst>
                                    <p:animEffect transition="out" filter="fade">
                                      <p:cBhvr>
                                        <p:cTn id="10" dur="500"/>
                                        <p:tgtEl>
                                          <p:spTgt spid="121"/>
                                        </p:tgtEl>
                                      </p:cBhvr>
                                    </p:animEffect>
                                    <p:set>
                                      <p:cBhvr>
                                        <p:cTn id="11" dur="1" fill="hold">
                                          <p:stCondLst>
                                            <p:cond delay="499"/>
                                          </p:stCondLst>
                                        </p:cTn>
                                        <p:tgtEl>
                                          <p:spTgt spid="121"/>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113"/>
                                        </p:tgtEl>
                                      </p:cBhvr>
                                    </p:animEffect>
                                    <p:set>
                                      <p:cBhvr>
                                        <p:cTn id="14" dur="1" fill="hold">
                                          <p:stCondLst>
                                            <p:cond delay="499"/>
                                          </p:stCondLst>
                                        </p:cTn>
                                        <p:tgtEl>
                                          <p:spTgt spid="113"/>
                                        </p:tgtEl>
                                        <p:attrNameLst>
                                          <p:attrName>style.visibility</p:attrName>
                                        </p:attrNameLst>
                                      </p:cBhvr>
                                      <p:to>
                                        <p:strVal val="hidden"/>
                                      </p:to>
                                    </p:set>
                                  </p:childTnLst>
                                </p:cTn>
                              </p:par>
                              <p:par>
                                <p:cTn id="15" presetID="10" presetClass="exit" presetSubtype="0" fill="hold" nodeType="with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childTnLst>
                          </p:cTn>
                        </p:par>
                        <p:par>
                          <p:cTn id="18" fill="hold">
                            <p:stCondLst>
                              <p:cond delay="500"/>
                            </p:stCondLst>
                            <p:childTnLst>
                              <p:par>
                                <p:cTn id="19" presetID="6" presetClass="emph" presetSubtype="0" decel="100000" fill="hold" nodeType="afterEffect">
                                  <p:stCondLst>
                                    <p:cond delay="0"/>
                                  </p:stCondLst>
                                  <p:childTnLst>
                                    <p:animScale>
                                      <p:cBhvr>
                                        <p:cTn id="20" dur="700" fill="hold"/>
                                        <p:tgtEl>
                                          <p:spTgt spid="2"/>
                                        </p:tgtEl>
                                      </p:cBhvr>
                                      <p:by x="60000" y="60000"/>
                                    </p:animScale>
                                  </p:childTnLst>
                                </p:cTn>
                              </p:par>
                              <p:par>
                                <p:cTn id="21" presetID="42" presetClass="path" presetSubtype="0" decel="100000" fill="hold" nodeType="withEffect">
                                  <p:stCondLst>
                                    <p:cond delay="0"/>
                                  </p:stCondLst>
                                  <p:childTnLst>
                                    <p:animMotion origin="layout" path="M 4.63365E-6 -1.32093E-6 L -0.05515 -0.52496 " pathEditMode="relative" rAng="0" ptsTypes="AA">
                                      <p:cBhvr>
                                        <p:cTn id="22" dur="700" fill="hold"/>
                                        <p:tgtEl>
                                          <p:spTgt spid="2"/>
                                        </p:tgtEl>
                                        <p:attrNameLst>
                                          <p:attrName>ppt_x</p:attrName>
                                          <p:attrName>ppt_y</p:attrName>
                                        </p:attrNameLst>
                                      </p:cBhvr>
                                      <p:rCtr x="-2757" y="-26260"/>
                                    </p:animMotion>
                                  </p:childTnLst>
                                </p:cTn>
                              </p:par>
                              <p:par>
                                <p:cTn id="23" presetID="10" presetClass="entr" presetSubtype="0" fill="hold" nodeType="withEffect">
                                  <p:stCondLst>
                                    <p:cond delay="750"/>
                                  </p:stCondLst>
                                  <p:childTnLst>
                                    <p:set>
                                      <p:cBhvr>
                                        <p:cTn id="24" dur="1" fill="hold">
                                          <p:stCondLst>
                                            <p:cond delay="0"/>
                                          </p:stCondLst>
                                        </p:cTn>
                                        <p:tgtEl>
                                          <p:spTgt spid="222"/>
                                        </p:tgtEl>
                                        <p:attrNameLst>
                                          <p:attrName>style.visibility</p:attrName>
                                        </p:attrNameLst>
                                      </p:cBhvr>
                                      <p:to>
                                        <p:strVal val="visible"/>
                                      </p:to>
                                    </p:set>
                                    <p:animEffect transition="in" filter="fade">
                                      <p:cBhvr>
                                        <p:cTn id="25" dur="25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reeform 86"/>
          <p:cNvSpPr/>
          <p:nvPr/>
        </p:nvSpPr>
        <p:spPr bwMode="auto">
          <a:xfrm rot="155795" flipV="1">
            <a:off x="7049922" y="2808070"/>
            <a:ext cx="1797267" cy="45719"/>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Freeform 2"/>
          <p:cNvSpPr/>
          <p:nvPr/>
        </p:nvSpPr>
        <p:spPr bwMode="auto">
          <a:xfrm rot="19865001" flipV="1">
            <a:off x="6781534" y="4162810"/>
            <a:ext cx="2177051" cy="94274"/>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73" name="Group 72"/>
          <p:cNvGrpSpPr/>
          <p:nvPr/>
        </p:nvGrpSpPr>
        <p:grpSpPr>
          <a:xfrm>
            <a:off x="8715878" y="1997115"/>
            <a:ext cx="2923223" cy="1906721"/>
            <a:chOff x="8715878" y="1997115"/>
            <a:chExt cx="2923223" cy="1906721"/>
          </a:xfrm>
        </p:grpSpPr>
        <p:grpSp>
          <p:nvGrpSpPr>
            <p:cNvPr id="74" name="Group 73"/>
            <p:cNvGrpSpPr/>
            <p:nvPr/>
          </p:nvGrpSpPr>
          <p:grpSpPr>
            <a:xfrm>
              <a:off x="8715878" y="1997115"/>
              <a:ext cx="2923223" cy="1614829"/>
              <a:chOff x="8715878" y="1997115"/>
              <a:chExt cx="2923223" cy="1614829"/>
            </a:xfrm>
          </p:grpSpPr>
          <p:sp>
            <p:nvSpPr>
              <p:cNvPr id="77" name="Freeform 128"/>
              <p:cNvSpPr>
                <a:spLocks noChangeAspect="1"/>
              </p:cNvSpPr>
              <p:nvPr/>
            </p:nvSpPr>
            <p:spPr bwMode="black">
              <a:xfrm>
                <a:off x="8715878" y="1997115"/>
                <a:ext cx="2923223" cy="16148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78" name="Group 4"/>
              <p:cNvGrpSpPr>
                <a:grpSpLocks noChangeAspect="1"/>
              </p:cNvGrpSpPr>
              <p:nvPr/>
            </p:nvGrpSpPr>
            <p:grpSpPr bwMode="auto">
              <a:xfrm>
                <a:off x="9600354" y="2339758"/>
                <a:ext cx="1220060" cy="1212226"/>
                <a:chOff x="3233" y="1308"/>
                <a:chExt cx="1869" cy="1857"/>
              </a:xfrm>
              <a:solidFill>
                <a:schemeClr val="accent1"/>
              </a:solidFill>
            </p:grpSpPr>
            <p:sp>
              <p:nvSpPr>
                <p:cNvPr id="79" name="Freeform 5"/>
                <p:cNvSpPr>
                  <a:spLocks/>
                </p:cNvSpPr>
                <p:nvPr/>
              </p:nvSpPr>
              <p:spPr bwMode="auto">
                <a:xfrm>
                  <a:off x="4220" y="2002"/>
                  <a:ext cx="330" cy="597"/>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84" name="Freeform 6"/>
                <p:cNvSpPr>
                  <a:spLocks/>
                </p:cNvSpPr>
                <p:nvPr/>
              </p:nvSpPr>
              <p:spPr bwMode="auto">
                <a:xfrm>
                  <a:off x="3778" y="2011"/>
                  <a:ext cx="332" cy="588"/>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85" name="Freeform 7"/>
                <p:cNvSpPr>
                  <a:spLocks noEditPoints="1"/>
                </p:cNvSpPr>
                <p:nvPr/>
              </p:nvSpPr>
              <p:spPr bwMode="auto">
                <a:xfrm>
                  <a:off x="3233" y="1308"/>
                  <a:ext cx="1869" cy="1857"/>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75" name="Freeform 5"/>
            <p:cNvSpPr>
              <a:spLocks noEditPoints="1"/>
            </p:cNvSpPr>
            <p:nvPr/>
          </p:nvSpPr>
          <p:spPr bwMode="auto">
            <a:xfrm>
              <a:off x="9294659" y="3679240"/>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6" name="Rectangle 15"/>
          <p:cNvSpPr/>
          <p:nvPr/>
        </p:nvSpPr>
        <p:spPr>
          <a:xfrm>
            <a:off x="281515" y="2128631"/>
            <a:ext cx="4090258"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Connect and Sync </a:t>
            </a:r>
            <a:r>
              <a:rPr lang="en-US" sz="2000" spc="-90" dirty="0" smtClean="0">
                <a:gradFill>
                  <a:gsLst>
                    <a:gs pos="3670">
                      <a:srgbClr val="505050"/>
                    </a:gs>
                    <a:gs pos="100000">
                      <a:srgbClr val="505050"/>
                    </a:gs>
                  </a:gsLst>
                  <a:lin ang="5400000" scaled="0"/>
                </a:gradFill>
              </a:rPr>
              <a:t>on-premises directories with Azure</a:t>
            </a:r>
            <a:r>
              <a:rPr lang="en-US" sz="2000" spc="-90" dirty="0">
                <a:gradFill>
                  <a:gsLst>
                    <a:gs pos="3670">
                      <a:srgbClr val="505050"/>
                    </a:gs>
                    <a:gs pos="100000">
                      <a:srgbClr val="505050"/>
                    </a:gs>
                  </a:gsLst>
                  <a:lin ang="5400000" scaled="0"/>
                </a:gradFill>
              </a:rPr>
              <a:t>.</a:t>
            </a:r>
          </a:p>
        </p:txBody>
      </p:sp>
      <p:grpSp>
        <p:nvGrpSpPr>
          <p:cNvPr id="184" name="Group 183"/>
          <p:cNvGrpSpPr/>
          <p:nvPr/>
        </p:nvGrpSpPr>
        <p:grpSpPr>
          <a:xfrm rot="900000">
            <a:off x="7574521" y="2484896"/>
            <a:ext cx="801928" cy="667864"/>
            <a:chOff x="3242937" y="2381026"/>
            <a:chExt cx="796924" cy="663700"/>
          </a:xfrm>
        </p:grpSpPr>
        <p:sp>
          <p:nvSpPr>
            <p:cNvPr id="185" name="Oval 184"/>
            <p:cNvSpPr/>
            <p:nvPr/>
          </p:nvSpPr>
          <p:spPr bwMode="auto">
            <a:xfrm>
              <a:off x="3326998" y="2432267"/>
              <a:ext cx="610136" cy="61013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86"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useBgFill="1">
        <p:nvSpPr>
          <p:cNvPr id="8" name="Rectangle 7"/>
          <p:cNvSpPr/>
          <p:nvPr/>
        </p:nvSpPr>
        <p:spPr bwMode="auto">
          <a:xfrm>
            <a:off x="12161838" y="0"/>
            <a:ext cx="274637"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7" name="Rectangle 146"/>
          <p:cNvSpPr/>
          <p:nvPr/>
        </p:nvSpPr>
        <p:spPr bwMode="auto">
          <a:xfrm>
            <a:off x="11331778" y="457635"/>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23" name="Rectangle 22"/>
          <p:cNvSpPr/>
          <p:nvPr/>
        </p:nvSpPr>
        <p:spPr bwMode="auto">
          <a:xfrm>
            <a:off x="12161838" y="-28437"/>
            <a:ext cx="274637" cy="703070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 name="Group 3"/>
          <p:cNvGrpSpPr/>
          <p:nvPr/>
        </p:nvGrpSpPr>
        <p:grpSpPr>
          <a:xfrm>
            <a:off x="4948738" y="1843355"/>
            <a:ext cx="1991301" cy="1920240"/>
            <a:chOff x="4984207" y="2022643"/>
            <a:chExt cx="1991301" cy="1920240"/>
          </a:xfrm>
          <a:solidFill>
            <a:srgbClr val="FFFFFF"/>
          </a:solidFill>
        </p:grpSpPr>
        <p:sp>
          <p:nvSpPr>
            <p:cNvPr id="132" name="Oval 131"/>
            <p:cNvSpPr>
              <a:spLocks noChangeAspect="1"/>
            </p:cNvSpPr>
            <p:nvPr>
              <p:custDataLst>
                <p:tags r:id="rId2"/>
              </p:custDataLst>
            </p:nvPr>
          </p:nvSpPr>
          <p:spPr bwMode="auto">
            <a:xfrm>
              <a:off x="4984207" y="2022643"/>
              <a:ext cx="1991301" cy="1920240"/>
            </a:xfrm>
            <a:prstGeom prst="ellipse">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grpSp>
          <p:nvGrpSpPr>
            <p:cNvPr id="134" name="Group 133"/>
            <p:cNvGrpSpPr/>
            <p:nvPr/>
          </p:nvGrpSpPr>
          <p:grpSpPr>
            <a:xfrm>
              <a:off x="5063880" y="2373471"/>
              <a:ext cx="1869562" cy="1164247"/>
              <a:chOff x="792242" y="2805236"/>
              <a:chExt cx="1869562" cy="1164247"/>
            </a:xfrm>
            <a:grpFill/>
          </p:grpSpPr>
          <p:sp>
            <p:nvSpPr>
              <p:cNvPr id="135" name="Rectangle 134"/>
              <p:cNvSpPr/>
              <p:nvPr/>
            </p:nvSpPr>
            <p:spPr>
              <a:xfrm>
                <a:off x="962880" y="3754038"/>
                <a:ext cx="1698924" cy="215445"/>
              </a:xfrm>
              <a:prstGeom prst="rect">
                <a:avLst/>
              </a:prstGeom>
              <a:noFill/>
              <a:ln>
                <a:noFill/>
              </a:ln>
            </p:spPr>
            <p:txBody>
              <a:bodyPr wrap="square" lIns="0" tIns="0" rIns="0" bIns="0" anchor="ctr">
                <a:spAutoFit/>
              </a:bodyPr>
              <a:lstStyle/>
              <a:p>
                <a:pPr algn="ctr" defTabSz="1096480" fontAlgn="base">
                  <a:spcBef>
                    <a:spcPts val="1440"/>
                  </a:spcBef>
                  <a:spcAft>
                    <a:spcPct val="0"/>
                  </a:spcAft>
                </a:pPr>
                <a:r>
                  <a:rPr lang="en-US" sz="1400" dirty="0">
                    <a:ln>
                      <a:solidFill>
                        <a:srgbClr val="FFFFFF">
                          <a:alpha val="0"/>
                        </a:srgbClr>
                      </a:solidFill>
                    </a:ln>
                    <a:gradFill>
                      <a:gsLst>
                        <a:gs pos="2917">
                          <a:srgbClr val="000174"/>
                        </a:gs>
                        <a:gs pos="30000">
                          <a:srgbClr val="000174"/>
                        </a:gs>
                      </a:gsLst>
                      <a:lin ang="5400000" scaled="0"/>
                    </a:gradFill>
                  </a:rPr>
                  <a:t>Active Directory</a:t>
                </a:r>
              </a:p>
            </p:txBody>
          </p:sp>
          <p:pic>
            <p:nvPicPr>
              <p:cNvPr id="136" name="Picture 1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a:ln>
                <a:noFill/>
              </a:ln>
            </p:spPr>
          </p:pic>
          <p:pic>
            <p:nvPicPr>
              <p:cNvPr id="138" name="Picture 137"/>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2242" y="3446127"/>
                <a:ext cx="1838351" cy="432110"/>
              </a:xfrm>
              <a:prstGeom prst="rect">
                <a:avLst/>
              </a:prstGeom>
              <a:noFill/>
              <a:ln>
                <a:noFill/>
              </a:ln>
            </p:spPr>
          </p:pic>
        </p:grpSp>
      </p:grpSp>
      <p:sp>
        <p:nvSpPr>
          <p:cNvPr id="11" name="Rectangle 10"/>
          <p:cNvSpPr/>
          <p:nvPr/>
        </p:nvSpPr>
        <p:spPr bwMode="auto">
          <a:xfrm>
            <a:off x="0" y="0"/>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noFill/>
        </p:spPr>
        <p:txBody>
          <a:bodyPr lIns="1920240"/>
          <a:lstStyle/>
          <a:p>
            <a:r>
              <a:rPr lang="en-US" sz="4000" dirty="0" smtClean="0">
                <a:gradFill>
                  <a:gsLst>
                    <a:gs pos="6195">
                      <a:schemeClr val="bg2"/>
                    </a:gs>
                    <a:gs pos="100000">
                      <a:schemeClr val="bg2"/>
                    </a:gs>
                  </a:gsLst>
                  <a:lin ang="5400000" scaled="0"/>
                </a:gradFill>
              </a:rPr>
              <a:t>Your Directory on the cloud </a:t>
            </a:r>
            <a:endParaRPr lang="en-US" sz="4000" dirty="0">
              <a:gradFill>
                <a:gsLst>
                  <a:gs pos="6195">
                    <a:schemeClr val="bg2"/>
                  </a:gs>
                  <a:gs pos="100000">
                    <a:schemeClr val="bg2"/>
                  </a:gs>
                </a:gsLst>
                <a:lin ang="5400000" scaled="0"/>
              </a:gradFill>
            </a:endParaRPr>
          </a:p>
        </p:txBody>
      </p:sp>
      <p:grpSp>
        <p:nvGrpSpPr>
          <p:cNvPr id="126" name="Group 125"/>
          <p:cNvGrpSpPr/>
          <p:nvPr/>
        </p:nvGrpSpPr>
        <p:grpSpPr>
          <a:xfrm rot="900000">
            <a:off x="7466624" y="3922273"/>
            <a:ext cx="801928" cy="667864"/>
            <a:chOff x="3242937" y="2381026"/>
            <a:chExt cx="796924" cy="663700"/>
          </a:xfrm>
        </p:grpSpPr>
        <p:sp>
          <p:nvSpPr>
            <p:cNvPr id="127" name="Oval 126"/>
            <p:cNvSpPr/>
            <p:nvPr/>
          </p:nvSpPr>
          <p:spPr bwMode="auto">
            <a:xfrm>
              <a:off x="3326998" y="2432267"/>
              <a:ext cx="610136" cy="61013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28"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86" name="Freeform 85"/>
          <p:cNvSpPr/>
          <p:nvPr/>
        </p:nvSpPr>
        <p:spPr bwMode="auto">
          <a:xfrm rot="16200000" flipV="1">
            <a:off x="5706921" y="4043561"/>
            <a:ext cx="449882" cy="90825"/>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6" name="Group 5"/>
          <p:cNvGrpSpPr/>
          <p:nvPr/>
        </p:nvGrpSpPr>
        <p:grpSpPr>
          <a:xfrm>
            <a:off x="4800365" y="4427120"/>
            <a:ext cx="2310436" cy="1920240"/>
            <a:chOff x="4800365" y="4427120"/>
            <a:chExt cx="2310436" cy="1920240"/>
          </a:xfrm>
        </p:grpSpPr>
        <p:sp>
          <p:nvSpPr>
            <p:cNvPr id="121" name="Oval 120"/>
            <p:cNvSpPr>
              <a:spLocks noChangeAspect="1"/>
            </p:cNvSpPr>
            <p:nvPr>
              <p:custDataLst>
                <p:tags r:id="rId1"/>
              </p:custDataLst>
            </p:nvPr>
          </p:nvSpPr>
          <p:spPr bwMode="auto">
            <a:xfrm>
              <a:off x="4959933" y="4427120"/>
              <a:ext cx="1991301" cy="1920240"/>
            </a:xfrm>
            <a:prstGeom prst="ellipse">
              <a:avLst/>
            </a:prstGeom>
            <a:solidFill>
              <a:srgbClr val="FFFFFF"/>
            </a:solid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sp>
          <p:nvSpPr>
            <p:cNvPr id="5" name="TextBox 4"/>
            <p:cNvSpPr txBox="1"/>
            <p:nvPr/>
          </p:nvSpPr>
          <p:spPr>
            <a:xfrm>
              <a:off x="4861357" y="5624687"/>
              <a:ext cx="2209000" cy="498598"/>
            </a:xfrm>
            <a:prstGeom prst="rect">
              <a:avLst/>
            </a:prstGeom>
            <a:noFill/>
            <a:ln>
              <a:noFill/>
            </a:ln>
          </p:spPr>
          <p:txBody>
            <a:bodyPr wrap="square" lIns="0" tIns="0" rIns="0" bIns="0" anchor="ctr">
              <a:spAutoFit/>
            </a:bodyPr>
            <a:lstStyle>
              <a:defPPr>
                <a:defRPr lang="en-US"/>
              </a:defPPr>
              <a:lvl1pPr algn="ctr" defTabSz="1096480" fontAlgn="base">
                <a:spcBef>
                  <a:spcPts val="1440"/>
                </a:spcBef>
                <a:spcAft>
                  <a:spcPct val="0"/>
                </a:spcAft>
                <a:defRPr sz="1400">
                  <a:ln>
                    <a:solidFill>
                      <a:srgbClr val="FFFFFF">
                        <a:alpha val="0"/>
                      </a:srgbClr>
                    </a:solidFill>
                  </a:ln>
                  <a:gradFill>
                    <a:gsLst>
                      <a:gs pos="2917">
                        <a:srgbClr val="000174"/>
                      </a:gs>
                      <a:gs pos="30000">
                        <a:srgbClr val="000174"/>
                      </a:gs>
                    </a:gsLst>
                    <a:lin ang="5400000" scaled="0"/>
                  </a:gradFill>
                </a:defRPr>
              </a:lvl1pPr>
            </a:lstStyle>
            <a:p>
              <a:pPr>
                <a:lnSpc>
                  <a:spcPct val="90000"/>
                </a:lnSpc>
                <a:spcBef>
                  <a:spcPts val="0"/>
                </a:spcBef>
              </a:pPr>
              <a:r>
                <a:rPr lang="en-US" sz="1800" dirty="0"/>
                <a:t>Other </a:t>
              </a:r>
              <a:r>
                <a:rPr lang="en-US" sz="1800" dirty="0" smtClean="0"/>
                <a:t/>
              </a:r>
              <a:br>
                <a:rPr lang="en-US" sz="1800" dirty="0" smtClean="0"/>
              </a:br>
              <a:r>
                <a:rPr lang="en-US" sz="1800" dirty="0" smtClean="0"/>
                <a:t>Directories</a:t>
              </a:r>
              <a:endParaRPr lang="en-US" sz="1800" dirty="0"/>
            </a:p>
          </p:txBody>
        </p:sp>
        <p:sp>
          <p:nvSpPr>
            <p:cNvPr id="88" name="TextBox 87"/>
            <p:cNvSpPr txBox="1"/>
            <p:nvPr/>
          </p:nvSpPr>
          <p:spPr>
            <a:xfrm>
              <a:off x="5067594" y="4925895"/>
              <a:ext cx="811035" cy="166199"/>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b="1" dirty="0" smtClean="0">
                  <a:gradFill>
                    <a:gsLst>
                      <a:gs pos="21429">
                        <a:srgbClr val="EFEFEF">
                          <a:lumMod val="50000"/>
                        </a:srgbClr>
                      </a:gs>
                      <a:gs pos="42000">
                        <a:srgbClr val="EFEFEF">
                          <a:lumMod val="50000"/>
                        </a:srgbClr>
                      </a:gs>
                    </a:gsLst>
                    <a:lin ang="5400000" scaled="0"/>
                  </a:gradFill>
                </a:rPr>
                <a:t>LDAP v3</a:t>
              </a:r>
              <a:endParaRPr lang="en-US" sz="1200" b="1" dirty="0">
                <a:gradFill>
                  <a:gsLst>
                    <a:gs pos="21429">
                      <a:srgbClr val="EFEFEF">
                        <a:lumMod val="50000"/>
                      </a:srgbClr>
                    </a:gs>
                    <a:gs pos="42000">
                      <a:srgbClr val="EFEFEF">
                        <a:lumMod val="50000"/>
                      </a:srgbClr>
                    </a:gs>
                  </a:gsLst>
                  <a:lin ang="5400000" scaled="0"/>
                </a:gradFill>
              </a:endParaRPr>
            </a:p>
          </p:txBody>
        </p:sp>
        <p:sp>
          <p:nvSpPr>
            <p:cNvPr id="89" name="TextBox 88"/>
            <p:cNvSpPr txBox="1"/>
            <p:nvPr/>
          </p:nvSpPr>
          <p:spPr>
            <a:xfrm>
              <a:off x="5550066" y="4635243"/>
              <a:ext cx="811035" cy="166199"/>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b="1" dirty="0" smtClean="0">
                  <a:gradFill>
                    <a:gsLst>
                      <a:gs pos="21429">
                        <a:srgbClr val="EFEFEF">
                          <a:lumMod val="50000"/>
                        </a:srgbClr>
                      </a:gs>
                      <a:gs pos="42000">
                        <a:srgbClr val="EFEFEF">
                          <a:lumMod val="50000"/>
                        </a:srgbClr>
                      </a:gs>
                    </a:gsLst>
                    <a:lin ang="5400000" scaled="0"/>
                  </a:gradFill>
                </a:rPr>
                <a:t>PowerShell</a:t>
              </a:r>
              <a:endParaRPr lang="en-US" sz="1200" b="1" dirty="0">
                <a:gradFill>
                  <a:gsLst>
                    <a:gs pos="21429">
                      <a:srgbClr val="EFEFEF">
                        <a:lumMod val="50000"/>
                      </a:srgbClr>
                    </a:gs>
                    <a:gs pos="42000">
                      <a:srgbClr val="EFEFEF">
                        <a:lumMod val="50000"/>
                      </a:srgbClr>
                    </a:gs>
                  </a:gsLst>
                  <a:lin ang="5400000" scaled="0"/>
                </a:gradFill>
              </a:endParaRPr>
            </a:p>
          </p:txBody>
        </p:sp>
        <p:sp>
          <p:nvSpPr>
            <p:cNvPr id="90" name="TextBox 89"/>
            <p:cNvSpPr txBox="1"/>
            <p:nvPr/>
          </p:nvSpPr>
          <p:spPr>
            <a:xfrm>
              <a:off x="5860192" y="4925248"/>
              <a:ext cx="968928" cy="166199"/>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b="1" dirty="0" smtClean="0">
                  <a:gradFill>
                    <a:gsLst>
                      <a:gs pos="21429">
                        <a:srgbClr val="EFEFEF">
                          <a:lumMod val="50000"/>
                        </a:srgbClr>
                      </a:gs>
                      <a:gs pos="42000">
                        <a:srgbClr val="EFEFEF">
                          <a:lumMod val="50000"/>
                        </a:srgbClr>
                      </a:gs>
                    </a:gsLst>
                    <a:lin ang="5400000" scaled="0"/>
                  </a:gradFill>
                </a:rPr>
                <a:t>SQL (ODBC)</a:t>
              </a:r>
              <a:endParaRPr lang="en-US" sz="1200" b="1" dirty="0">
                <a:gradFill>
                  <a:gsLst>
                    <a:gs pos="21429">
                      <a:srgbClr val="EFEFEF">
                        <a:lumMod val="50000"/>
                      </a:srgbClr>
                    </a:gs>
                    <a:gs pos="42000">
                      <a:srgbClr val="EFEFEF">
                        <a:lumMod val="50000"/>
                      </a:srgbClr>
                    </a:gs>
                  </a:gsLst>
                  <a:lin ang="5400000" scaled="0"/>
                </a:gradFill>
              </a:endParaRPr>
            </a:p>
          </p:txBody>
        </p:sp>
        <p:sp>
          <p:nvSpPr>
            <p:cNvPr id="91" name="TextBox 90"/>
            <p:cNvSpPr txBox="1"/>
            <p:nvPr/>
          </p:nvSpPr>
          <p:spPr>
            <a:xfrm>
              <a:off x="4800365" y="5187437"/>
              <a:ext cx="2310436" cy="332399"/>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b="1" dirty="0" smtClean="0">
                  <a:gradFill>
                    <a:gsLst>
                      <a:gs pos="21429">
                        <a:srgbClr val="EFEFEF">
                          <a:lumMod val="50000"/>
                        </a:srgbClr>
                      </a:gs>
                      <a:gs pos="42000">
                        <a:srgbClr val="EFEFEF">
                          <a:lumMod val="50000"/>
                        </a:srgbClr>
                      </a:gs>
                    </a:gsLst>
                    <a:lin ang="5400000" scaled="0"/>
                  </a:gradFill>
                </a:rPr>
                <a:t>Web Services </a:t>
              </a:r>
              <a:br>
                <a:rPr lang="en-US" sz="1200" b="1" dirty="0" smtClean="0">
                  <a:gradFill>
                    <a:gsLst>
                      <a:gs pos="21429">
                        <a:srgbClr val="EFEFEF">
                          <a:lumMod val="50000"/>
                        </a:srgbClr>
                      </a:gs>
                      <a:gs pos="42000">
                        <a:srgbClr val="EFEFEF">
                          <a:lumMod val="50000"/>
                        </a:srgbClr>
                      </a:gs>
                    </a:gsLst>
                    <a:lin ang="5400000" scaled="0"/>
                  </a:gradFill>
                </a:rPr>
              </a:br>
              <a:r>
                <a:rPr lang="en-US" sz="1200" b="1" dirty="0" smtClean="0">
                  <a:gradFill>
                    <a:gsLst>
                      <a:gs pos="21429">
                        <a:srgbClr val="EFEFEF">
                          <a:lumMod val="50000"/>
                        </a:srgbClr>
                      </a:gs>
                      <a:gs pos="42000">
                        <a:srgbClr val="EFEFEF">
                          <a:lumMod val="50000"/>
                        </a:srgbClr>
                      </a:gs>
                    </a:gsLst>
                    <a:lin ang="5400000" scaled="0"/>
                  </a:gradFill>
                </a:rPr>
                <a:t>( SOAP, JAVA, REST)</a:t>
              </a:r>
              <a:endParaRPr lang="en-US" sz="1200" b="1" dirty="0">
                <a:gradFill>
                  <a:gsLst>
                    <a:gs pos="21429">
                      <a:srgbClr val="EFEFEF">
                        <a:lumMod val="50000"/>
                      </a:srgbClr>
                    </a:gs>
                    <a:gs pos="42000">
                      <a:srgbClr val="EFEFEF">
                        <a:lumMod val="50000"/>
                      </a:srgbClr>
                    </a:gs>
                  </a:gsLst>
                  <a:lin ang="5400000" scaled="0"/>
                </a:gradFill>
              </a:endParaRPr>
            </a:p>
          </p:txBody>
        </p:sp>
      </p:grpSp>
      <p:grpSp>
        <p:nvGrpSpPr>
          <p:cNvPr id="65" name="Group 64"/>
          <p:cNvGrpSpPr/>
          <p:nvPr/>
        </p:nvGrpSpPr>
        <p:grpSpPr>
          <a:xfrm>
            <a:off x="215207" y="199825"/>
            <a:ext cx="1731568" cy="1731568"/>
            <a:chOff x="325131" y="3296296"/>
            <a:chExt cx="2880360" cy="2880360"/>
          </a:xfrm>
        </p:grpSpPr>
        <p:sp>
          <p:nvSpPr>
            <p:cNvPr id="66" name="Oval 65"/>
            <p:cNvSpPr/>
            <p:nvPr/>
          </p:nvSpPr>
          <p:spPr bwMode="auto">
            <a:xfrm>
              <a:off x="325131" y="3296296"/>
              <a:ext cx="2880360" cy="288036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67" name="Group 4"/>
            <p:cNvGrpSpPr>
              <a:grpSpLocks noChangeAspect="1"/>
            </p:cNvGrpSpPr>
            <p:nvPr/>
          </p:nvGrpSpPr>
          <p:grpSpPr bwMode="auto">
            <a:xfrm>
              <a:off x="1232924" y="4912596"/>
              <a:ext cx="1064774" cy="1058056"/>
              <a:chOff x="399" y="1105"/>
              <a:chExt cx="1585" cy="1575"/>
            </a:xfrm>
            <a:solidFill>
              <a:srgbClr val="969696"/>
            </a:solidFill>
          </p:grpSpPr>
          <p:sp>
            <p:nvSpPr>
              <p:cNvPr id="104"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5"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2"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68" name="Group 67"/>
            <p:cNvGrpSpPr/>
            <p:nvPr/>
          </p:nvGrpSpPr>
          <p:grpSpPr>
            <a:xfrm>
              <a:off x="602418" y="4664783"/>
              <a:ext cx="437223" cy="506564"/>
              <a:chOff x="5394326" y="4936834"/>
              <a:chExt cx="720725" cy="835025"/>
            </a:xfrm>
            <a:solidFill>
              <a:schemeClr val="bg2"/>
            </a:solidFill>
          </p:grpSpPr>
          <p:sp>
            <p:nvSpPr>
              <p:cNvPr id="102"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3"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69" name="Freeform 6"/>
            <p:cNvSpPr>
              <a:spLocks noEditPoints="1"/>
            </p:cNvSpPr>
            <p:nvPr/>
          </p:nvSpPr>
          <p:spPr bwMode="auto">
            <a:xfrm>
              <a:off x="843675" y="3912646"/>
              <a:ext cx="379249" cy="461628"/>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70" name="Freeform 19"/>
            <p:cNvSpPr>
              <a:spLocks noEditPoints="1"/>
            </p:cNvSpPr>
            <p:nvPr/>
          </p:nvSpPr>
          <p:spPr bwMode="auto">
            <a:xfrm>
              <a:off x="1457704" y="3614070"/>
              <a:ext cx="618522" cy="5093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71" name="Group 70"/>
            <p:cNvGrpSpPr/>
            <p:nvPr/>
          </p:nvGrpSpPr>
          <p:grpSpPr>
            <a:xfrm>
              <a:off x="1094580" y="4167063"/>
              <a:ext cx="1269583" cy="1122073"/>
              <a:chOff x="1119447" y="2626822"/>
              <a:chExt cx="1310504" cy="1158240"/>
            </a:xfrm>
          </p:grpSpPr>
          <p:cxnSp>
            <p:nvCxnSpPr>
              <p:cNvPr id="97" name="Straight Connector 96"/>
              <p:cNvCxnSpPr/>
              <p:nvPr/>
            </p:nvCxnSpPr>
            <p:spPr>
              <a:xfrm>
                <a:off x="1119447" y="3619790"/>
                <a:ext cx="286035" cy="165272"/>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313411" y="2909455"/>
                <a:ext cx="365448" cy="543098"/>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811797" y="2626822"/>
                <a:ext cx="0" cy="714894"/>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950863" y="2936786"/>
                <a:ext cx="342418" cy="510201"/>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2186813" y="3616910"/>
                <a:ext cx="243138" cy="149946"/>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Freeform 5"/>
            <p:cNvSpPr>
              <a:spLocks noEditPoints="1"/>
            </p:cNvSpPr>
            <p:nvPr/>
          </p:nvSpPr>
          <p:spPr bwMode="auto">
            <a:xfrm>
              <a:off x="2336578" y="3846256"/>
              <a:ext cx="427200" cy="298443"/>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92" name="Group 91"/>
            <p:cNvGrpSpPr/>
            <p:nvPr/>
          </p:nvGrpSpPr>
          <p:grpSpPr>
            <a:xfrm>
              <a:off x="2181675" y="4144232"/>
              <a:ext cx="366037" cy="242717"/>
              <a:chOff x="3067050" y="1341438"/>
              <a:chExt cx="6219826" cy="4124325"/>
            </a:xfrm>
            <a:solidFill>
              <a:srgbClr val="969696"/>
            </a:solidFill>
          </p:grpSpPr>
          <p:sp>
            <p:nvSpPr>
              <p:cNvPr id="94"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5"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6"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93"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 name="TextBox 6"/>
          <p:cNvSpPr txBox="1"/>
          <p:nvPr/>
        </p:nvSpPr>
        <p:spPr>
          <a:xfrm>
            <a:off x="8715878" y="5257800"/>
            <a:ext cx="245727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72C6">
                    <a:lumMod val="75000"/>
                  </a:srgbClr>
                </a:solidFill>
              </a:rPr>
              <a:t>*Azure AD Sync</a:t>
            </a:r>
          </a:p>
        </p:txBody>
      </p:sp>
      <p:sp>
        <p:nvSpPr>
          <p:cNvPr id="62" name="TextBox 61"/>
          <p:cNvSpPr txBox="1"/>
          <p:nvPr/>
        </p:nvSpPr>
        <p:spPr>
          <a:xfrm>
            <a:off x="8115556" y="4234139"/>
            <a:ext cx="49757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72C6">
                    <a:lumMod val="75000"/>
                  </a:srgbClr>
                </a:solidFill>
              </a:rPr>
              <a:t>*</a:t>
            </a:r>
          </a:p>
        </p:txBody>
      </p:sp>
    </p:spTree>
    <p:extLst>
      <p:ext uri="{BB962C8B-B14F-4D97-AF65-F5344CB8AC3E}">
        <p14:creationId xmlns:p14="http://schemas.microsoft.com/office/powerpoint/2010/main" val="34572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10" presetClass="entr" presetSubtype="0"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250"/>
                            </p:stCondLst>
                            <p:childTnLst>
                              <p:par>
                                <p:cTn id="17" presetID="2" presetClass="entr" presetSubtype="2" decel="100000" fill="hold" nodeType="afterEffect">
                                  <p:stCondLst>
                                    <p:cond delay="0"/>
                                  </p:stCondLst>
                                  <p:childTnLst>
                                    <p:set>
                                      <p:cBhvr>
                                        <p:cTn id="18" dur="1" fill="hold">
                                          <p:stCondLst>
                                            <p:cond delay="0"/>
                                          </p:stCondLst>
                                        </p:cTn>
                                        <p:tgtEl>
                                          <p:spTgt spid="73"/>
                                        </p:tgtEl>
                                        <p:attrNameLst>
                                          <p:attrName>style.visibility</p:attrName>
                                        </p:attrNameLst>
                                      </p:cBhvr>
                                      <p:to>
                                        <p:strVal val="visible"/>
                                      </p:to>
                                    </p:set>
                                    <p:anim calcmode="lin" valueType="num">
                                      <p:cBhvr additive="base">
                                        <p:cTn id="19" dur="750" fill="hold"/>
                                        <p:tgtEl>
                                          <p:spTgt spid="73"/>
                                        </p:tgtEl>
                                        <p:attrNameLst>
                                          <p:attrName>ppt_x</p:attrName>
                                        </p:attrNameLst>
                                      </p:cBhvr>
                                      <p:tavLst>
                                        <p:tav tm="0">
                                          <p:val>
                                            <p:strVal val="1+#ppt_w/2"/>
                                          </p:val>
                                        </p:tav>
                                        <p:tav tm="100000">
                                          <p:val>
                                            <p:strVal val="#ppt_x"/>
                                          </p:val>
                                        </p:tav>
                                      </p:tavLst>
                                    </p:anim>
                                    <p:anim calcmode="lin" valueType="num">
                                      <p:cBhvr additive="base">
                                        <p:cTn id="20" dur="750" fill="hold"/>
                                        <p:tgtEl>
                                          <p:spTgt spid="73"/>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87"/>
                                        </p:tgtEl>
                                        <p:attrNameLst>
                                          <p:attrName>style.visibility</p:attrName>
                                        </p:attrNameLst>
                                      </p:cBhvr>
                                      <p:to>
                                        <p:strVal val="visible"/>
                                      </p:to>
                                    </p:set>
                                    <p:animEffect transition="in" filter="wipe(left)">
                                      <p:cBhvr>
                                        <p:cTn id="25" dur="500"/>
                                        <p:tgtEl>
                                          <p:spTgt spid="87"/>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84"/>
                                        </p:tgtEl>
                                        <p:attrNameLst>
                                          <p:attrName>style.visibility</p:attrName>
                                        </p:attrNameLst>
                                      </p:cBhvr>
                                      <p:to>
                                        <p:strVal val="visible"/>
                                      </p:to>
                                    </p:set>
                                    <p:animEffect transition="in" filter="fade">
                                      <p:cBhvr>
                                        <p:cTn id="29" dur="500"/>
                                        <p:tgtEl>
                                          <p:spTgt spid="184"/>
                                        </p:tgtEl>
                                      </p:cBhvr>
                                    </p:animEffect>
                                  </p:childTnLst>
                                </p:cTn>
                              </p:par>
                            </p:childTnLst>
                          </p:cTn>
                        </p:par>
                        <p:par>
                          <p:cTn id="30" fill="hold">
                            <p:stCondLst>
                              <p:cond delay="1000"/>
                            </p:stCondLst>
                            <p:childTnLst>
                              <p:par>
                                <p:cTn id="31" presetID="8" presetClass="emph" presetSubtype="0" fill="hold" nodeType="afterEffect">
                                  <p:stCondLst>
                                    <p:cond delay="0"/>
                                  </p:stCondLst>
                                  <p:childTnLst>
                                    <p:animRot by="21600000">
                                      <p:cBhvr>
                                        <p:cTn id="32" dur="1000" fill="hold"/>
                                        <p:tgtEl>
                                          <p:spTgt spid="184"/>
                                        </p:tgtEl>
                                        <p:attrNameLst>
                                          <p:attrName>r</p:attrName>
                                        </p:attrNameLst>
                                      </p:cBhvr>
                                    </p:animRo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wipe(down)">
                                      <p:cBhvr>
                                        <p:cTn id="37" dur="500"/>
                                        <p:tgtEl>
                                          <p:spTgt spid="8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wipe(left)">
                                      <p:cBhvr>
                                        <p:cTn id="42" dur="500"/>
                                        <p:tgtEl>
                                          <p:spTgt spid="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fade">
                                      <p:cBhvr>
                                        <p:cTn id="47" dur="500"/>
                                        <p:tgtEl>
                                          <p:spTgt spid="126"/>
                                        </p:tgtEl>
                                      </p:cBhvr>
                                    </p:animEffect>
                                  </p:childTnLst>
                                </p:cTn>
                              </p:par>
                              <p:par>
                                <p:cTn id="48" presetID="8" presetClass="emph" presetSubtype="0" fill="hold" nodeType="withEffect">
                                  <p:stCondLst>
                                    <p:cond delay="0"/>
                                  </p:stCondLst>
                                  <p:childTnLst>
                                    <p:animRot by="21600000">
                                      <p:cBhvr>
                                        <p:cTn id="49" dur="1000" fill="hold"/>
                                        <p:tgtEl>
                                          <p:spTgt spid="126"/>
                                        </p:tgtEl>
                                        <p:attrNameLst>
                                          <p:attrName>r</p:attrName>
                                        </p:attrNameLst>
                                      </p:cBhvr>
                                    </p:animRot>
                                  </p:childTnLst>
                                </p:cTn>
                              </p:par>
                              <p:par>
                                <p:cTn id="50" presetID="1"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3" grpId="0" animBg="1"/>
      <p:bldP spid="16" grpId="0"/>
      <p:bldP spid="86" grpId="0" animBg="1"/>
      <p:bldP spid="7" grpId="0"/>
      <p:bldP spid="6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7" name="Straight Arrow Connector 576"/>
          <p:cNvCxnSpPr/>
          <p:nvPr/>
        </p:nvCxnSpPr>
        <p:spPr>
          <a:xfrm flipH="1" flipV="1">
            <a:off x="3121201" y="5179614"/>
            <a:ext cx="2280421" cy="458949"/>
          </a:xfrm>
          <a:prstGeom prst="straightConnector1">
            <a:avLst/>
          </a:prstGeom>
          <a:ln w="25400" cap="rnd" cmpd="sng">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2" name="Straight Arrow Connector 511"/>
          <p:cNvCxnSpPr/>
          <p:nvPr/>
        </p:nvCxnSpPr>
        <p:spPr>
          <a:xfrm flipH="1">
            <a:off x="6335063" y="5143512"/>
            <a:ext cx="1589241" cy="495051"/>
          </a:xfrm>
          <a:prstGeom prst="straightConnector1">
            <a:avLst/>
          </a:prstGeom>
          <a:ln w="25400" cap="rnd" cmpd="sng">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5163671" y="3868859"/>
            <a:ext cx="1622611" cy="1257761"/>
            <a:chOff x="5757772" y="1796556"/>
            <a:chExt cx="1622611" cy="1143916"/>
          </a:xfrm>
        </p:grpSpPr>
        <p:sp>
          <p:nvSpPr>
            <p:cNvPr id="480" name="Rectangle 479"/>
            <p:cNvSpPr/>
            <p:nvPr/>
          </p:nvSpPr>
          <p:spPr>
            <a:xfrm>
              <a:off x="5757772" y="2774273"/>
              <a:ext cx="1622611" cy="166199"/>
            </a:xfrm>
            <a:prstGeom prst="rect">
              <a:avLst/>
            </a:prstGeom>
            <a:ln>
              <a:noFill/>
            </a:ln>
          </p:spPr>
          <p:txBody>
            <a:bodyPr wrap="square" lIns="0" tIns="0" rIns="0" bIns="0" anchor="ctr">
              <a:spAutoFit/>
            </a:bodyPr>
            <a:lstStyle/>
            <a:p>
              <a:pPr algn="ctr" defTabSz="1243038" fontAlgn="base">
                <a:lnSpc>
                  <a:spcPct val="90000"/>
                </a:lnSpc>
                <a:spcBef>
                  <a:spcPct val="20000"/>
                </a:spcBef>
                <a:spcAft>
                  <a:spcPct val="0"/>
                </a:spcAft>
                <a:buSzPct val="80000"/>
              </a:pPr>
              <a:r>
                <a:rPr lang="en-US" sz="1200" dirty="0">
                  <a:gradFill>
                    <a:gsLst>
                      <a:gs pos="21429">
                        <a:srgbClr val="002050"/>
                      </a:gs>
                      <a:gs pos="100000">
                        <a:srgbClr val="002050"/>
                      </a:gs>
                    </a:gsLst>
                    <a:lin ang="5400000" scaled="0"/>
                  </a:gradFill>
                </a:rPr>
                <a:t>Identity Synchronization </a:t>
              </a:r>
            </a:p>
          </p:txBody>
        </p:sp>
        <p:grpSp>
          <p:nvGrpSpPr>
            <p:cNvPr id="493" name="Group 492"/>
            <p:cNvGrpSpPr/>
            <p:nvPr/>
          </p:nvGrpSpPr>
          <p:grpSpPr>
            <a:xfrm>
              <a:off x="6067428" y="1796556"/>
              <a:ext cx="1027035" cy="987264"/>
              <a:chOff x="2945267" y="3944158"/>
              <a:chExt cx="1901371" cy="1827743"/>
            </a:xfrm>
          </p:grpSpPr>
          <p:sp>
            <p:nvSpPr>
              <p:cNvPr id="494" name="Freeform 835"/>
              <p:cNvSpPr>
                <a:spLocks noEditPoints="1"/>
              </p:cNvSpPr>
              <p:nvPr/>
            </p:nvSpPr>
            <p:spPr bwMode="auto">
              <a:xfrm>
                <a:off x="3442018" y="3960285"/>
                <a:ext cx="931343" cy="1795489"/>
              </a:xfrm>
              <a:custGeom>
                <a:avLst/>
                <a:gdLst>
                  <a:gd name="T0" fmla="*/ 234 w 2079"/>
                  <a:gd name="T1" fmla="*/ 3600 h 4007"/>
                  <a:gd name="T2" fmla="*/ 1845 w 2079"/>
                  <a:gd name="T3" fmla="*/ 3460 h 4007"/>
                  <a:gd name="T4" fmla="*/ 234 w 2079"/>
                  <a:gd name="T5" fmla="*/ 3151 h 4007"/>
                  <a:gd name="T6" fmla="*/ 556 w 2079"/>
                  <a:gd name="T7" fmla="*/ 3290 h 4007"/>
                  <a:gd name="T8" fmla="*/ 234 w 2079"/>
                  <a:gd name="T9" fmla="*/ 3151 h 4007"/>
                  <a:gd name="T10" fmla="*/ 234 w 2079"/>
                  <a:gd name="T11" fmla="*/ 2982 h 4007"/>
                  <a:gd name="T12" fmla="*/ 556 w 2079"/>
                  <a:gd name="T13" fmla="*/ 2842 h 4007"/>
                  <a:gd name="T14" fmla="*/ 234 w 2079"/>
                  <a:gd name="T15" fmla="*/ 745 h 4007"/>
                  <a:gd name="T16" fmla="*/ 1845 w 2079"/>
                  <a:gd name="T17" fmla="*/ 954 h 4007"/>
                  <a:gd name="T18" fmla="*/ 234 w 2079"/>
                  <a:gd name="T19" fmla="*/ 745 h 4007"/>
                  <a:gd name="T20" fmla="*/ 234 w 2079"/>
                  <a:gd name="T21" fmla="*/ 622 h 4007"/>
                  <a:gd name="T22" fmla="*/ 1845 w 2079"/>
                  <a:gd name="T23" fmla="*/ 412 h 4007"/>
                  <a:gd name="T24" fmla="*/ 277 w 2079"/>
                  <a:gd name="T25" fmla="*/ 0 h 4007"/>
                  <a:gd name="T26" fmla="*/ 1847 w 2079"/>
                  <a:gd name="T27" fmla="*/ 4 h 4007"/>
                  <a:gd name="T28" fmla="*/ 1930 w 2079"/>
                  <a:gd name="T29" fmla="*/ 28 h 4007"/>
                  <a:gd name="T30" fmla="*/ 1998 w 2079"/>
                  <a:gd name="T31" fmla="*/ 71 h 4007"/>
                  <a:gd name="T32" fmla="*/ 2048 w 2079"/>
                  <a:gd name="T33" fmla="*/ 130 h 4007"/>
                  <a:gd name="T34" fmla="*/ 2076 w 2079"/>
                  <a:gd name="T35" fmla="*/ 201 h 4007"/>
                  <a:gd name="T36" fmla="*/ 2079 w 2079"/>
                  <a:gd name="T37" fmla="*/ 3767 h 4007"/>
                  <a:gd name="T38" fmla="*/ 2064 w 2079"/>
                  <a:gd name="T39" fmla="*/ 3844 h 4007"/>
                  <a:gd name="T40" fmla="*/ 2026 w 2079"/>
                  <a:gd name="T41" fmla="*/ 3909 h 4007"/>
                  <a:gd name="T42" fmla="*/ 1966 w 2079"/>
                  <a:gd name="T43" fmla="*/ 3961 h 4007"/>
                  <a:gd name="T44" fmla="*/ 1890 w 2079"/>
                  <a:gd name="T45" fmla="*/ 3995 h 4007"/>
                  <a:gd name="T46" fmla="*/ 1803 w 2079"/>
                  <a:gd name="T47" fmla="*/ 4007 h 4007"/>
                  <a:gd name="T48" fmla="*/ 231 w 2079"/>
                  <a:gd name="T49" fmla="*/ 4003 h 4007"/>
                  <a:gd name="T50" fmla="*/ 150 w 2079"/>
                  <a:gd name="T51" fmla="*/ 3980 h 4007"/>
                  <a:gd name="T52" fmla="*/ 81 w 2079"/>
                  <a:gd name="T53" fmla="*/ 3936 h 4007"/>
                  <a:gd name="T54" fmla="*/ 31 w 2079"/>
                  <a:gd name="T55" fmla="*/ 3877 h 4007"/>
                  <a:gd name="T56" fmla="*/ 4 w 2079"/>
                  <a:gd name="T57" fmla="*/ 3806 h 4007"/>
                  <a:gd name="T58" fmla="*/ 0 w 2079"/>
                  <a:gd name="T59" fmla="*/ 241 h 4007"/>
                  <a:gd name="T60" fmla="*/ 14 w 2079"/>
                  <a:gd name="T61" fmla="*/ 164 h 4007"/>
                  <a:gd name="T62" fmla="*/ 53 w 2079"/>
                  <a:gd name="T63" fmla="*/ 98 h 4007"/>
                  <a:gd name="T64" fmla="*/ 113 w 2079"/>
                  <a:gd name="T65" fmla="*/ 46 h 4007"/>
                  <a:gd name="T66" fmla="*/ 189 w 2079"/>
                  <a:gd name="T67" fmla="*/ 13 h 4007"/>
                  <a:gd name="T68" fmla="*/ 277 w 2079"/>
                  <a:gd name="T69" fmla="*/ 0 h 4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4007">
                    <a:moveTo>
                      <a:pt x="234" y="3460"/>
                    </a:moveTo>
                    <a:lnTo>
                      <a:pt x="234" y="3600"/>
                    </a:lnTo>
                    <a:lnTo>
                      <a:pt x="1845" y="3600"/>
                    </a:lnTo>
                    <a:lnTo>
                      <a:pt x="1845" y="3460"/>
                    </a:lnTo>
                    <a:lnTo>
                      <a:pt x="234" y="3460"/>
                    </a:lnTo>
                    <a:close/>
                    <a:moveTo>
                      <a:pt x="234" y="3151"/>
                    </a:moveTo>
                    <a:lnTo>
                      <a:pt x="234" y="3290"/>
                    </a:lnTo>
                    <a:lnTo>
                      <a:pt x="556" y="3290"/>
                    </a:lnTo>
                    <a:lnTo>
                      <a:pt x="556" y="3151"/>
                    </a:lnTo>
                    <a:lnTo>
                      <a:pt x="234" y="3151"/>
                    </a:lnTo>
                    <a:close/>
                    <a:moveTo>
                      <a:pt x="234" y="2842"/>
                    </a:moveTo>
                    <a:lnTo>
                      <a:pt x="234" y="2982"/>
                    </a:lnTo>
                    <a:lnTo>
                      <a:pt x="556" y="2982"/>
                    </a:lnTo>
                    <a:lnTo>
                      <a:pt x="556" y="2842"/>
                    </a:lnTo>
                    <a:lnTo>
                      <a:pt x="234" y="2842"/>
                    </a:lnTo>
                    <a:close/>
                    <a:moveTo>
                      <a:pt x="234" y="745"/>
                    </a:moveTo>
                    <a:lnTo>
                      <a:pt x="234" y="954"/>
                    </a:lnTo>
                    <a:lnTo>
                      <a:pt x="1845" y="954"/>
                    </a:lnTo>
                    <a:lnTo>
                      <a:pt x="1845" y="745"/>
                    </a:lnTo>
                    <a:lnTo>
                      <a:pt x="234" y="745"/>
                    </a:lnTo>
                    <a:close/>
                    <a:moveTo>
                      <a:pt x="234" y="412"/>
                    </a:moveTo>
                    <a:lnTo>
                      <a:pt x="234" y="622"/>
                    </a:lnTo>
                    <a:lnTo>
                      <a:pt x="1845" y="622"/>
                    </a:lnTo>
                    <a:lnTo>
                      <a:pt x="1845" y="412"/>
                    </a:lnTo>
                    <a:lnTo>
                      <a:pt x="234" y="412"/>
                    </a:lnTo>
                    <a:close/>
                    <a:moveTo>
                      <a:pt x="277" y="0"/>
                    </a:moveTo>
                    <a:lnTo>
                      <a:pt x="1803" y="0"/>
                    </a:lnTo>
                    <a:lnTo>
                      <a:pt x="1847" y="4"/>
                    </a:lnTo>
                    <a:lnTo>
                      <a:pt x="1890" y="13"/>
                    </a:lnTo>
                    <a:lnTo>
                      <a:pt x="1930" y="28"/>
                    </a:lnTo>
                    <a:lnTo>
                      <a:pt x="1966" y="46"/>
                    </a:lnTo>
                    <a:lnTo>
                      <a:pt x="1998" y="71"/>
                    </a:lnTo>
                    <a:lnTo>
                      <a:pt x="2026" y="98"/>
                    </a:lnTo>
                    <a:lnTo>
                      <a:pt x="2048" y="130"/>
                    </a:lnTo>
                    <a:lnTo>
                      <a:pt x="2064" y="164"/>
                    </a:lnTo>
                    <a:lnTo>
                      <a:pt x="2076" y="201"/>
                    </a:lnTo>
                    <a:lnTo>
                      <a:pt x="2079" y="241"/>
                    </a:lnTo>
                    <a:lnTo>
                      <a:pt x="2079" y="3767"/>
                    </a:lnTo>
                    <a:lnTo>
                      <a:pt x="2076" y="3806"/>
                    </a:lnTo>
                    <a:lnTo>
                      <a:pt x="2064" y="3844"/>
                    </a:lnTo>
                    <a:lnTo>
                      <a:pt x="2048" y="3877"/>
                    </a:lnTo>
                    <a:lnTo>
                      <a:pt x="2026" y="3909"/>
                    </a:lnTo>
                    <a:lnTo>
                      <a:pt x="1998" y="3936"/>
                    </a:lnTo>
                    <a:lnTo>
                      <a:pt x="1966" y="3961"/>
                    </a:lnTo>
                    <a:lnTo>
                      <a:pt x="1930" y="3980"/>
                    </a:lnTo>
                    <a:lnTo>
                      <a:pt x="1890" y="3995"/>
                    </a:lnTo>
                    <a:lnTo>
                      <a:pt x="1847" y="4003"/>
                    </a:lnTo>
                    <a:lnTo>
                      <a:pt x="1803" y="4007"/>
                    </a:lnTo>
                    <a:lnTo>
                      <a:pt x="277" y="4007"/>
                    </a:lnTo>
                    <a:lnTo>
                      <a:pt x="231" y="4003"/>
                    </a:lnTo>
                    <a:lnTo>
                      <a:pt x="189" y="3995"/>
                    </a:lnTo>
                    <a:lnTo>
                      <a:pt x="150" y="3980"/>
                    </a:lnTo>
                    <a:lnTo>
                      <a:pt x="113" y="3961"/>
                    </a:lnTo>
                    <a:lnTo>
                      <a:pt x="81" y="3936"/>
                    </a:lnTo>
                    <a:lnTo>
                      <a:pt x="53" y="3909"/>
                    </a:lnTo>
                    <a:lnTo>
                      <a:pt x="31" y="3877"/>
                    </a:lnTo>
                    <a:lnTo>
                      <a:pt x="14" y="3844"/>
                    </a:lnTo>
                    <a:lnTo>
                      <a:pt x="4" y="3806"/>
                    </a:lnTo>
                    <a:lnTo>
                      <a:pt x="0" y="3767"/>
                    </a:lnTo>
                    <a:lnTo>
                      <a:pt x="0" y="241"/>
                    </a:lnTo>
                    <a:lnTo>
                      <a:pt x="4" y="201"/>
                    </a:lnTo>
                    <a:lnTo>
                      <a:pt x="14" y="164"/>
                    </a:lnTo>
                    <a:lnTo>
                      <a:pt x="31" y="130"/>
                    </a:lnTo>
                    <a:lnTo>
                      <a:pt x="53" y="98"/>
                    </a:lnTo>
                    <a:lnTo>
                      <a:pt x="81" y="71"/>
                    </a:lnTo>
                    <a:lnTo>
                      <a:pt x="113" y="46"/>
                    </a:lnTo>
                    <a:lnTo>
                      <a:pt x="150" y="28"/>
                    </a:lnTo>
                    <a:lnTo>
                      <a:pt x="189" y="13"/>
                    </a:lnTo>
                    <a:lnTo>
                      <a:pt x="231" y="4"/>
                    </a:lnTo>
                    <a:lnTo>
                      <a:pt x="27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495" name="Freeform 836"/>
              <p:cNvSpPr>
                <a:spLocks noEditPoints="1"/>
              </p:cNvSpPr>
              <p:nvPr/>
            </p:nvSpPr>
            <p:spPr bwMode="auto">
              <a:xfrm>
                <a:off x="3425891" y="3944158"/>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nvGrpSpPr>
              <p:cNvPr id="496" name="Group 17"/>
              <p:cNvGrpSpPr>
                <a:grpSpLocks noChangeAspect="1"/>
              </p:cNvGrpSpPr>
              <p:nvPr/>
            </p:nvGrpSpPr>
            <p:grpSpPr bwMode="auto">
              <a:xfrm>
                <a:off x="2945267" y="4415659"/>
                <a:ext cx="1134713" cy="747235"/>
                <a:chOff x="4825" y="2414"/>
                <a:chExt cx="1883" cy="1240"/>
              </a:xfrm>
            </p:grpSpPr>
            <p:sp>
              <p:nvSpPr>
                <p:cNvPr id="501" name="Freeform 500"/>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02" name="Freeform 501"/>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03" name="Freeform 502"/>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grpSp>
            <p:nvGrpSpPr>
              <p:cNvPr id="497" name="Group 17"/>
              <p:cNvGrpSpPr>
                <a:grpSpLocks noChangeAspect="1"/>
              </p:cNvGrpSpPr>
              <p:nvPr/>
            </p:nvGrpSpPr>
            <p:grpSpPr bwMode="auto">
              <a:xfrm>
                <a:off x="3711925" y="4537854"/>
                <a:ext cx="1134713" cy="747235"/>
                <a:chOff x="4825" y="2414"/>
                <a:chExt cx="1883" cy="1240"/>
              </a:xfrm>
            </p:grpSpPr>
            <p:sp>
              <p:nvSpPr>
                <p:cNvPr id="498" name="Freeform 497"/>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499" name="Freeform 498"/>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00" name="Freeform 499"/>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grpSp>
      </p:grpSp>
      <p:grpSp>
        <p:nvGrpSpPr>
          <p:cNvPr id="504" name="Group 503"/>
          <p:cNvGrpSpPr/>
          <p:nvPr/>
        </p:nvGrpSpPr>
        <p:grpSpPr>
          <a:xfrm>
            <a:off x="5426285" y="5151806"/>
            <a:ext cx="910560" cy="1154277"/>
            <a:chOff x="7099380" y="2441962"/>
            <a:chExt cx="867823" cy="1100101"/>
          </a:xfrm>
        </p:grpSpPr>
        <p:sp>
          <p:nvSpPr>
            <p:cNvPr id="505" name="Rectangle 504"/>
            <p:cNvSpPr/>
            <p:nvPr/>
          </p:nvSpPr>
          <p:spPr>
            <a:xfrm>
              <a:off x="7231528" y="3383787"/>
              <a:ext cx="735675" cy="158276"/>
            </a:xfrm>
            <a:prstGeom prst="rect">
              <a:avLst/>
            </a:prstGeom>
            <a:ln>
              <a:noFill/>
            </a:ln>
          </p:spPr>
          <p:txBody>
            <a:bodyPr wrap="square" lIns="0" tIns="0" rIns="0" bIns="0" anchor="ctr">
              <a:spAutoFit/>
            </a:bodyPr>
            <a:lstStyle/>
            <a:p>
              <a:pPr algn="ctr" defTabSz="1243038" fontAlgn="base">
                <a:lnSpc>
                  <a:spcPct val="90000"/>
                </a:lnSpc>
                <a:spcBef>
                  <a:spcPct val="20000"/>
                </a:spcBef>
                <a:spcAft>
                  <a:spcPct val="0"/>
                </a:spcAft>
                <a:buSzPct val="80000"/>
              </a:pPr>
              <a:r>
                <a:rPr lang="en-US" sz="1200" dirty="0">
                  <a:gradFill>
                    <a:gsLst>
                      <a:gs pos="21429">
                        <a:srgbClr val="002050"/>
                      </a:gs>
                      <a:gs pos="100000">
                        <a:srgbClr val="002050"/>
                      </a:gs>
                    </a:gsLst>
                    <a:lin ang="5400000" scaled="0"/>
                  </a:gradFill>
                </a:rPr>
                <a:t>AD FS</a:t>
              </a:r>
            </a:p>
          </p:txBody>
        </p:sp>
        <p:grpSp>
          <p:nvGrpSpPr>
            <p:cNvPr id="506" name="Group 505"/>
            <p:cNvGrpSpPr/>
            <p:nvPr/>
          </p:nvGrpSpPr>
          <p:grpSpPr>
            <a:xfrm>
              <a:off x="7099380" y="2441962"/>
              <a:ext cx="776661" cy="927326"/>
              <a:chOff x="7348547" y="1211262"/>
              <a:chExt cx="1530784" cy="1827743"/>
            </a:xfrm>
          </p:grpSpPr>
          <p:sp>
            <p:nvSpPr>
              <p:cNvPr id="507" name="Freeform 836"/>
              <p:cNvSpPr>
                <a:spLocks noEditPoints="1"/>
              </p:cNvSpPr>
              <p:nvPr/>
            </p:nvSpPr>
            <p:spPr bwMode="auto">
              <a:xfrm>
                <a:off x="7915734"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nvGrpSpPr>
              <p:cNvPr id="508" name="Group 507"/>
              <p:cNvGrpSpPr/>
              <p:nvPr/>
            </p:nvGrpSpPr>
            <p:grpSpPr>
              <a:xfrm>
                <a:off x="7348547" y="1752940"/>
                <a:ext cx="1348570" cy="888065"/>
                <a:chOff x="6873117" y="2094811"/>
                <a:chExt cx="1134713" cy="747235"/>
              </a:xfrm>
            </p:grpSpPr>
            <p:sp>
              <p:nvSpPr>
                <p:cNvPr id="509" name="Freeform 508"/>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10" name="Freeform 509"/>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11" name="Freeform 510"/>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grpSp>
      </p:grpSp>
      <p:sp>
        <p:nvSpPr>
          <p:cNvPr id="552" name="Rectangle 551"/>
          <p:cNvSpPr/>
          <p:nvPr/>
        </p:nvSpPr>
        <p:spPr bwMode="auto">
          <a:xfrm>
            <a:off x="7064187" y="5676546"/>
            <a:ext cx="5262284" cy="886397"/>
          </a:xfrm>
          <a:prstGeom prst="rect">
            <a:avLst/>
          </a:prstGeom>
          <a:ln>
            <a:noFill/>
          </a:ln>
        </p:spPr>
        <p:txBody>
          <a:bodyPr vert="horz" wrap="square" lIns="0" tIns="0" rIns="0" bIns="0" rtlCol="0">
            <a:spAutoFit/>
          </a:bodyPr>
          <a:lstStyle/>
          <a:p>
            <a:pPr defTabSz="932503">
              <a:lnSpc>
                <a:spcPct val="90000"/>
              </a:lnSpc>
              <a:spcBef>
                <a:spcPts val="1200"/>
              </a:spcBef>
            </a:pPr>
            <a:r>
              <a:rPr lang="en-US" sz="1600" dirty="0">
                <a:gradFill>
                  <a:gsLst>
                    <a:gs pos="17431">
                      <a:srgbClr val="505050"/>
                    </a:gs>
                    <a:gs pos="39000">
                      <a:srgbClr val="505050"/>
                    </a:gs>
                  </a:gsLst>
                  <a:lin ang="5400000" scaled="0"/>
                </a:gradFill>
              </a:rPr>
              <a:t>User attributes are synchronized using </a:t>
            </a:r>
            <a:r>
              <a:rPr lang="en-US" sz="1600" dirty="0" smtClean="0">
                <a:gradFill>
                  <a:gsLst>
                    <a:gs pos="17431">
                      <a:srgbClr val="505050"/>
                    </a:gs>
                    <a:gs pos="39000">
                      <a:srgbClr val="505050"/>
                    </a:gs>
                  </a:gsLst>
                  <a:lin ang="5400000" scaled="0"/>
                </a:gradFill>
              </a:rPr>
              <a:t>Identity Synchronization tools, </a:t>
            </a:r>
            <a:r>
              <a:rPr lang="en-US" sz="1600" b="1" dirty="0">
                <a:gradFill>
                  <a:gsLst>
                    <a:gs pos="17431">
                      <a:srgbClr val="008272"/>
                    </a:gs>
                    <a:gs pos="100000">
                      <a:srgbClr val="008272"/>
                    </a:gs>
                  </a:gsLst>
                  <a:lin ang="5400000" scaled="0"/>
                </a:gradFill>
              </a:rPr>
              <a:t>Authentication is passed back through federation </a:t>
            </a:r>
            <a:r>
              <a:rPr lang="en-US" sz="1600" dirty="0">
                <a:gradFill>
                  <a:gsLst>
                    <a:gs pos="17431">
                      <a:srgbClr val="505050"/>
                    </a:gs>
                    <a:gs pos="39000">
                      <a:srgbClr val="505050"/>
                    </a:gs>
                  </a:gsLst>
                  <a:lin ang="5400000" scaled="0"/>
                </a:gradFill>
              </a:rPr>
              <a:t>and completed against</a:t>
            </a:r>
            <a:r>
              <a:rPr lang="en-US" sz="1600" dirty="0" smtClean="0">
                <a:solidFill>
                  <a:srgbClr val="969696">
                    <a:lumMod val="50000"/>
                  </a:srgbClr>
                </a:solidFill>
              </a:rPr>
              <a:t> </a:t>
            </a:r>
            <a:r>
              <a:rPr lang="en-US" sz="1600" b="1" dirty="0" smtClean="0">
                <a:gradFill>
                  <a:gsLst>
                    <a:gs pos="17431">
                      <a:srgbClr val="008272"/>
                    </a:gs>
                    <a:gs pos="100000">
                      <a:srgbClr val="008272"/>
                    </a:gs>
                  </a:gsLst>
                  <a:lin ang="5400000" scaled="0"/>
                </a:gradFill>
              </a:rPr>
              <a:t>Windows </a:t>
            </a:r>
            <a:r>
              <a:rPr lang="en-US" sz="1600" b="1" dirty="0">
                <a:gradFill>
                  <a:gsLst>
                    <a:gs pos="17431">
                      <a:srgbClr val="008272"/>
                    </a:gs>
                    <a:gs pos="100000">
                      <a:srgbClr val="008272"/>
                    </a:gs>
                  </a:gsLst>
                  <a:lin ang="5400000" scaled="0"/>
                </a:gradFill>
              </a:rPr>
              <a:t>Server Active Directory</a:t>
            </a:r>
          </a:p>
        </p:txBody>
      </p:sp>
      <p:cxnSp>
        <p:nvCxnSpPr>
          <p:cNvPr id="116" name="Straight Arrow Connector 115"/>
          <p:cNvCxnSpPr/>
          <p:nvPr/>
        </p:nvCxnSpPr>
        <p:spPr>
          <a:xfrm flipH="1" flipV="1">
            <a:off x="6616765" y="4615624"/>
            <a:ext cx="1328634" cy="267896"/>
          </a:xfrm>
          <a:prstGeom prst="straightConnector1">
            <a:avLst/>
          </a:prstGeom>
          <a:ln w="25400" cap="rnd" cmpd="sng">
            <a:solidFill>
              <a:schemeClr val="accent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V="1">
            <a:off x="3125068" y="4617922"/>
            <a:ext cx="2302525" cy="298242"/>
          </a:xfrm>
          <a:prstGeom prst="straightConnector1">
            <a:avLst/>
          </a:prstGeom>
          <a:ln w="25400" cap="rnd" cmpd="sng">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4" name="Group 163"/>
          <p:cNvGrpSpPr/>
          <p:nvPr/>
        </p:nvGrpSpPr>
        <p:grpSpPr>
          <a:xfrm>
            <a:off x="1143076" y="4289828"/>
            <a:ext cx="2329963" cy="1516819"/>
            <a:chOff x="4180433" y="3009950"/>
            <a:chExt cx="1695153" cy="1103554"/>
          </a:xfrm>
        </p:grpSpPr>
        <p:grpSp>
          <p:nvGrpSpPr>
            <p:cNvPr id="165" name="Group 164"/>
            <p:cNvGrpSpPr/>
            <p:nvPr/>
          </p:nvGrpSpPr>
          <p:grpSpPr>
            <a:xfrm>
              <a:off x="4180433" y="3665675"/>
              <a:ext cx="1695153" cy="447829"/>
              <a:chOff x="3002667" y="5699193"/>
              <a:chExt cx="1695153" cy="447829"/>
            </a:xfrm>
          </p:grpSpPr>
          <p:sp>
            <p:nvSpPr>
              <p:cNvPr id="167" name="Rectangle 166"/>
              <p:cNvSpPr/>
              <p:nvPr/>
            </p:nvSpPr>
            <p:spPr>
              <a:xfrm>
                <a:off x="3305897" y="5967885"/>
                <a:ext cx="1156250" cy="179137"/>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600" dirty="0" smtClean="0">
                    <a:ln>
                      <a:solidFill>
                        <a:srgbClr val="FFFFFF">
                          <a:alpha val="0"/>
                        </a:srgbClr>
                      </a:solidFill>
                    </a:ln>
                    <a:solidFill>
                      <a:srgbClr val="00188F"/>
                    </a:solidFill>
                  </a:rPr>
                  <a:t>Active Directory</a:t>
                </a:r>
                <a:endParaRPr lang="en-US" sz="1600" dirty="0">
                  <a:ln>
                    <a:solidFill>
                      <a:srgbClr val="FFFFFF">
                        <a:alpha val="0"/>
                      </a:srgbClr>
                    </a:solidFill>
                  </a:ln>
                  <a:solidFill>
                    <a:srgbClr val="00188F"/>
                  </a:solidFill>
                </a:endParaRPr>
              </a:p>
            </p:txBody>
          </p:sp>
          <p:pic>
            <p:nvPicPr>
              <p:cNvPr id="168" name="Picture 1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66" name="Picture 1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sp useBgFill="1">
        <p:nvSpPr>
          <p:cNvPr id="5" name="Rectangle 4"/>
          <p:cNvSpPr/>
          <p:nvPr/>
        </p:nvSpPr>
        <p:spPr bwMode="auto">
          <a:xfrm>
            <a:off x="0" y="-1"/>
            <a:ext cx="12436475" cy="381963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3" name="Rectangle 2"/>
          <p:cNvSpPr/>
          <p:nvPr/>
        </p:nvSpPr>
        <p:spPr bwMode="auto">
          <a:xfrm>
            <a:off x="0" y="-1"/>
            <a:ext cx="12436475" cy="154370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p:txBody>
          <a:bodyPr/>
          <a:lstStyle/>
          <a:p>
            <a:pPr>
              <a:lnSpc>
                <a:spcPct val="80000"/>
              </a:lnSpc>
            </a:pPr>
            <a:r>
              <a:rPr lang="en-US" sz="4000" dirty="0">
                <a:gradFill>
                  <a:gsLst>
                    <a:gs pos="6195">
                      <a:schemeClr val="bg2"/>
                    </a:gs>
                    <a:gs pos="100000">
                      <a:schemeClr val="bg2"/>
                    </a:gs>
                  </a:gsLst>
                  <a:lin ang="5400000" scaled="0"/>
                </a:gradFill>
              </a:rPr>
              <a:t>Delivering a seamless user authentication experience</a:t>
            </a:r>
          </a:p>
        </p:txBody>
      </p:sp>
      <p:grpSp>
        <p:nvGrpSpPr>
          <p:cNvPr id="7" name="Group 6"/>
          <p:cNvGrpSpPr/>
          <p:nvPr/>
        </p:nvGrpSpPr>
        <p:grpSpPr>
          <a:xfrm>
            <a:off x="1143076" y="1607601"/>
            <a:ext cx="11282652" cy="2317126"/>
            <a:chOff x="1143076" y="1607601"/>
            <a:chExt cx="11282652" cy="2317126"/>
          </a:xfrm>
        </p:grpSpPr>
        <p:sp>
          <p:nvSpPr>
            <p:cNvPr id="817" name="Rectangle 816"/>
            <p:cNvSpPr/>
            <p:nvPr/>
          </p:nvSpPr>
          <p:spPr bwMode="auto">
            <a:xfrm>
              <a:off x="7064187" y="3038330"/>
              <a:ext cx="5361541" cy="886397"/>
            </a:xfrm>
            <a:prstGeom prst="rect">
              <a:avLst/>
            </a:prstGeom>
            <a:ln>
              <a:noFill/>
            </a:ln>
          </p:spPr>
          <p:txBody>
            <a:bodyPr vert="horz" wrap="square" lIns="0" tIns="0" rIns="0" bIns="0" rtlCol="0">
              <a:spAutoFit/>
            </a:bodyPr>
            <a:lstStyle/>
            <a:p>
              <a:pPr defTabSz="932503">
                <a:lnSpc>
                  <a:spcPct val="90000"/>
                </a:lnSpc>
                <a:spcBef>
                  <a:spcPts val="1200"/>
                </a:spcBef>
              </a:pPr>
              <a:r>
                <a:rPr lang="en-US" sz="1600" dirty="0">
                  <a:gradFill>
                    <a:gsLst>
                      <a:gs pos="17431">
                        <a:srgbClr val="505050"/>
                      </a:gs>
                      <a:gs pos="39000">
                        <a:srgbClr val="505050"/>
                      </a:gs>
                    </a:gsLst>
                    <a:lin ang="5400000" scaled="0"/>
                  </a:gradFill>
                </a:rPr>
                <a:t>User attributes are synchronized using Identity Synchronization </a:t>
              </a:r>
              <a:r>
                <a:rPr lang="en-US" sz="1600" dirty="0" smtClean="0">
                  <a:gradFill>
                    <a:gsLst>
                      <a:gs pos="17431">
                        <a:srgbClr val="505050"/>
                      </a:gs>
                      <a:gs pos="39000">
                        <a:srgbClr val="505050"/>
                      </a:gs>
                    </a:gsLst>
                    <a:lin ang="5400000" scaled="0"/>
                  </a:gradFill>
                </a:rPr>
                <a:t>services </a:t>
              </a:r>
              <a:r>
                <a:rPr lang="en-US" sz="1600" b="1" dirty="0" smtClean="0">
                  <a:gradFill>
                    <a:gsLst>
                      <a:gs pos="17431">
                        <a:srgbClr val="008272"/>
                      </a:gs>
                      <a:gs pos="100000">
                        <a:srgbClr val="008272"/>
                      </a:gs>
                    </a:gsLst>
                    <a:lin ang="5400000" scaled="0"/>
                  </a:gradFill>
                </a:rPr>
                <a:t>including a password </a:t>
              </a:r>
              <a:r>
                <a:rPr lang="en-US" sz="1600" b="1" dirty="0">
                  <a:gradFill>
                    <a:gsLst>
                      <a:gs pos="17431">
                        <a:srgbClr val="008272"/>
                      </a:gs>
                      <a:gs pos="100000">
                        <a:srgbClr val="008272"/>
                      </a:gs>
                    </a:gsLst>
                    <a:lin ang="5400000" scaled="0"/>
                  </a:gradFill>
                </a:rPr>
                <a:t>hash, </a:t>
              </a:r>
              <a:r>
                <a:rPr lang="en-US" sz="1600" dirty="0" smtClean="0">
                  <a:gradFill>
                    <a:gsLst>
                      <a:gs pos="17431">
                        <a:srgbClr val="505050"/>
                      </a:gs>
                      <a:gs pos="39000">
                        <a:srgbClr val="505050"/>
                      </a:gs>
                    </a:gsLst>
                    <a:lin ang="5400000" scaled="0"/>
                  </a:gradFill>
                </a:rPr>
                <a:t>Authentication </a:t>
              </a:r>
              <a:r>
                <a:rPr lang="en-US" sz="1600" dirty="0">
                  <a:gradFill>
                    <a:gsLst>
                      <a:gs pos="17431">
                        <a:srgbClr val="505050"/>
                      </a:gs>
                      <a:gs pos="39000">
                        <a:srgbClr val="505050"/>
                      </a:gs>
                    </a:gsLst>
                    <a:lin ang="5400000" scaled="0"/>
                  </a:gradFill>
                </a:rPr>
                <a:t>is completed against </a:t>
              </a:r>
              <a:r>
                <a:rPr lang="en-US" sz="1600" b="1" dirty="0" smtClean="0">
                  <a:gradFill>
                    <a:gsLst>
                      <a:gs pos="17431">
                        <a:srgbClr val="008272"/>
                      </a:gs>
                      <a:gs pos="100000">
                        <a:srgbClr val="008272"/>
                      </a:gs>
                    </a:gsLst>
                    <a:lin ang="5400000" scaled="0"/>
                  </a:gradFill>
                </a:rPr>
                <a:t>Azure </a:t>
              </a:r>
              <a:r>
                <a:rPr lang="en-US" sz="1600" b="1" dirty="0">
                  <a:gradFill>
                    <a:gsLst>
                      <a:gs pos="17431">
                        <a:srgbClr val="008272"/>
                      </a:gs>
                      <a:gs pos="100000">
                        <a:srgbClr val="008272"/>
                      </a:gs>
                    </a:gsLst>
                    <a:lin ang="5400000" scaled="0"/>
                  </a:gradFill>
                </a:rPr>
                <a:t>Active Directory</a:t>
              </a:r>
            </a:p>
          </p:txBody>
        </p:sp>
        <p:grpSp>
          <p:nvGrpSpPr>
            <p:cNvPr id="14" name="Group 13"/>
            <p:cNvGrpSpPr/>
            <p:nvPr/>
          </p:nvGrpSpPr>
          <p:grpSpPr>
            <a:xfrm>
              <a:off x="1143076" y="1807152"/>
              <a:ext cx="2329963" cy="1516819"/>
              <a:chOff x="4180433" y="3009950"/>
              <a:chExt cx="1695153" cy="1103554"/>
            </a:xfrm>
          </p:grpSpPr>
          <p:grpSp>
            <p:nvGrpSpPr>
              <p:cNvPr id="6" name="Group 5"/>
              <p:cNvGrpSpPr/>
              <p:nvPr/>
            </p:nvGrpSpPr>
            <p:grpSpPr>
              <a:xfrm>
                <a:off x="4180433" y="3665675"/>
                <a:ext cx="1695153" cy="447829"/>
                <a:chOff x="3002667" y="5699193"/>
                <a:chExt cx="1695153" cy="447829"/>
              </a:xfrm>
            </p:grpSpPr>
            <p:sp>
              <p:nvSpPr>
                <p:cNvPr id="114" name="Rectangle 113"/>
                <p:cNvSpPr/>
                <p:nvPr/>
              </p:nvSpPr>
              <p:spPr>
                <a:xfrm>
                  <a:off x="3305897" y="5967885"/>
                  <a:ext cx="1156250" cy="179137"/>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600" dirty="0" smtClean="0">
                      <a:ln>
                        <a:solidFill>
                          <a:srgbClr val="FFFFFF">
                            <a:alpha val="0"/>
                          </a:srgbClr>
                        </a:solidFill>
                      </a:ln>
                      <a:solidFill>
                        <a:srgbClr val="00188F"/>
                      </a:solidFill>
                    </a:rPr>
                    <a:t>Active Directory</a:t>
                  </a:r>
                  <a:endParaRPr lang="en-US" sz="1600" dirty="0">
                    <a:ln>
                      <a:solidFill>
                        <a:srgbClr val="FFFFFF">
                          <a:alpha val="0"/>
                        </a:srgbClr>
                      </a:solidFill>
                    </a:ln>
                    <a:solidFill>
                      <a:srgbClr val="00188F"/>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2667" y="5699193"/>
                  <a:ext cx="1695153" cy="398452"/>
                </a:xfrm>
                <a:prstGeom prst="rect">
                  <a:avLst/>
                </a:prstGeom>
              </p:spPr>
            </p:pic>
          </p:grpSp>
          <p:pic>
            <p:nvPicPr>
              <p:cNvPr id="1210" name="Picture 12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5" y="3009950"/>
                <a:ext cx="1044032" cy="690827"/>
              </a:xfrm>
              <a:prstGeom prst="rect">
                <a:avLst/>
              </a:prstGeom>
            </p:spPr>
          </p:pic>
        </p:grpSp>
        <p:cxnSp>
          <p:nvCxnSpPr>
            <p:cNvPr id="476" name="Straight Arrow Connector 475"/>
            <p:cNvCxnSpPr/>
            <p:nvPr/>
          </p:nvCxnSpPr>
          <p:spPr>
            <a:xfrm flipH="1">
              <a:off x="6617040" y="2447540"/>
              <a:ext cx="1511224" cy="0"/>
            </a:xfrm>
            <a:prstGeom prst="straightConnector1">
              <a:avLst/>
            </a:prstGeom>
            <a:ln w="25400" cap="rnd" cmpd="sng">
              <a:solidFill>
                <a:schemeClr val="accent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7" name="Straight Arrow Connector 476"/>
            <p:cNvCxnSpPr/>
            <p:nvPr/>
          </p:nvCxnSpPr>
          <p:spPr>
            <a:xfrm>
              <a:off x="3311610" y="2446231"/>
              <a:ext cx="2109647" cy="0"/>
            </a:xfrm>
            <a:prstGeom prst="straightConnector1">
              <a:avLst/>
            </a:prstGeom>
            <a:ln w="25400" cap="rnd" cmpd="sng">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78" name="Group 477"/>
            <p:cNvGrpSpPr/>
            <p:nvPr/>
          </p:nvGrpSpPr>
          <p:grpSpPr>
            <a:xfrm>
              <a:off x="4905795" y="1761642"/>
              <a:ext cx="1962970" cy="1485717"/>
              <a:chOff x="5473731" y="1796556"/>
              <a:chExt cx="1962970" cy="1485717"/>
            </a:xfrm>
          </p:grpSpPr>
          <p:sp>
            <p:nvSpPr>
              <p:cNvPr id="479" name="Rectangle 478"/>
              <p:cNvSpPr/>
              <p:nvPr/>
            </p:nvSpPr>
            <p:spPr>
              <a:xfrm>
                <a:off x="5473731" y="2949874"/>
                <a:ext cx="1962970" cy="332399"/>
              </a:xfrm>
              <a:prstGeom prst="rect">
                <a:avLst/>
              </a:prstGeom>
              <a:ln>
                <a:noFill/>
              </a:ln>
            </p:spPr>
            <p:txBody>
              <a:bodyPr wrap="square" lIns="0" tIns="0" rIns="0" bIns="0" anchor="ctr">
                <a:spAutoFit/>
              </a:bodyPr>
              <a:lstStyle/>
              <a:p>
                <a:pPr algn="ctr" defTabSz="1243038" fontAlgn="base">
                  <a:lnSpc>
                    <a:spcPct val="90000"/>
                  </a:lnSpc>
                  <a:spcBef>
                    <a:spcPct val="20000"/>
                  </a:spcBef>
                  <a:spcAft>
                    <a:spcPct val="0"/>
                  </a:spcAft>
                  <a:buSzPct val="80000"/>
                </a:pPr>
                <a:r>
                  <a:rPr lang="en-US" sz="1200" dirty="0" smtClean="0">
                    <a:gradFill>
                      <a:gsLst>
                        <a:gs pos="21429">
                          <a:srgbClr val="002050"/>
                        </a:gs>
                        <a:gs pos="100000">
                          <a:srgbClr val="002050"/>
                        </a:gs>
                      </a:gsLst>
                      <a:lin ang="5400000" scaled="0"/>
                    </a:gradFill>
                  </a:rPr>
                  <a:t>Identity Synchronization with </a:t>
                </a:r>
                <a:r>
                  <a:rPr lang="en-US" sz="1200" b="1" dirty="0" smtClean="0">
                    <a:gradFill>
                      <a:gsLst>
                        <a:gs pos="21429">
                          <a:srgbClr val="002050"/>
                        </a:gs>
                        <a:gs pos="100000">
                          <a:srgbClr val="002050"/>
                        </a:gs>
                      </a:gsLst>
                      <a:lin ang="5400000" scaled="0"/>
                    </a:gradFill>
                  </a:rPr>
                  <a:t>password hash </a:t>
                </a:r>
                <a:r>
                  <a:rPr lang="en-US" sz="1200" b="1" dirty="0">
                    <a:gradFill>
                      <a:gsLst>
                        <a:gs pos="21429">
                          <a:srgbClr val="002050"/>
                        </a:gs>
                        <a:gs pos="100000">
                          <a:srgbClr val="002050"/>
                        </a:gs>
                      </a:gsLst>
                      <a:lin ang="5400000" scaled="0"/>
                    </a:gradFill>
                  </a:rPr>
                  <a:t>sync</a:t>
                </a:r>
              </a:p>
            </p:txBody>
          </p:sp>
          <p:grpSp>
            <p:nvGrpSpPr>
              <p:cNvPr id="481" name="Group 480"/>
              <p:cNvGrpSpPr/>
              <p:nvPr/>
            </p:nvGrpSpPr>
            <p:grpSpPr>
              <a:xfrm>
                <a:off x="6067428" y="1796556"/>
                <a:ext cx="1027035" cy="987264"/>
                <a:chOff x="2945267" y="3944158"/>
                <a:chExt cx="1901371" cy="1827743"/>
              </a:xfrm>
            </p:grpSpPr>
            <p:sp>
              <p:nvSpPr>
                <p:cNvPr id="482" name="Freeform 835"/>
                <p:cNvSpPr>
                  <a:spLocks noEditPoints="1"/>
                </p:cNvSpPr>
                <p:nvPr/>
              </p:nvSpPr>
              <p:spPr bwMode="auto">
                <a:xfrm>
                  <a:off x="3442018" y="3960285"/>
                  <a:ext cx="931343" cy="1795489"/>
                </a:xfrm>
                <a:custGeom>
                  <a:avLst/>
                  <a:gdLst>
                    <a:gd name="T0" fmla="*/ 234 w 2079"/>
                    <a:gd name="T1" fmla="*/ 3600 h 4007"/>
                    <a:gd name="T2" fmla="*/ 1845 w 2079"/>
                    <a:gd name="T3" fmla="*/ 3460 h 4007"/>
                    <a:gd name="T4" fmla="*/ 234 w 2079"/>
                    <a:gd name="T5" fmla="*/ 3151 h 4007"/>
                    <a:gd name="T6" fmla="*/ 556 w 2079"/>
                    <a:gd name="T7" fmla="*/ 3290 h 4007"/>
                    <a:gd name="T8" fmla="*/ 234 w 2079"/>
                    <a:gd name="T9" fmla="*/ 3151 h 4007"/>
                    <a:gd name="T10" fmla="*/ 234 w 2079"/>
                    <a:gd name="T11" fmla="*/ 2982 h 4007"/>
                    <a:gd name="T12" fmla="*/ 556 w 2079"/>
                    <a:gd name="T13" fmla="*/ 2842 h 4007"/>
                    <a:gd name="T14" fmla="*/ 234 w 2079"/>
                    <a:gd name="T15" fmla="*/ 745 h 4007"/>
                    <a:gd name="T16" fmla="*/ 1845 w 2079"/>
                    <a:gd name="T17" fmla="*/ 954 h 4007"/>
                    <a:gd name="T18" fmla="*/ 234 w 2079"/>
                    <a:gd name="T19" fmla="*/ 745 h 4007"/>
                    <a:gd name="T20" fmla="*/ 234 w 2079"/>
                    <a:gd name="T21" fmla="*/ 622 h 4007"/>
                    <a:gd name="T22" fmla="*/ 1845 w 2079"/>
                    <a:gd name="T23" fmla="*/ 412 h 4007"/>
                    <a:gd name="T24" fmla="*/ 277 w 2079"/>
                    <a:gd name="T25" fmla="*/ 0 h 4007"/>
                    <a:gd name="T26" fmla="*/ 1847 w 2079"/>
                    <a:gd name="T27" fmla="*/ 4 h 4007"/>
                    <a:gd name="T28" fmla="*/ 1930 w 2079"/>
                    <a:gd name="T29" fmla="*/ 28 h 4007"/>
                    <a:gd name="T30" fmla="*/ 1998 w 2079"/>
                    <a:gd name="T31" fmla="*/ 71 h 4007"/>
                    <a:gd name="T32" fmla="*/ 2048 w 2079"/>
                    <a:gd name="T33" fmla="*/ 130 h 4007"/>
                    <a:gd name="T34" fmla="*/ 2076 w 2079"/>
                    <a:gd name="T35" fmla="*/ 201 h 4007"/>
                    <a:gd name="T36" fmla="*/ 2079 w 2079"/>
                    <a:gd name="T37" fmla="*/ 3767 h 4007"/>
                    <a:gd name="T38" fmla="*/ 2064 w 2079"/>
                    <a:gd name="T39" fmla="*/ 3844 h 4007"/>
                    <a:gd name="T40" fmla="*/ 2026 w 2079"/>
                    <a:gd name="T41" fmla="*/ 3909 h 4007"/>
                    <a:gd name="T42" fmla="*/ 1966 w 2079"/>
                    <a:gd name="T43" fmla="*/ 3961 h 4007"/>
                    <a:gd name="T44" fmla="*/ 1890 w 2079"/>
                    <a:gd name="T45" fmla="*/ 3995 h 4007"/>
                    <a:gd name="T46" fmla="*/ 1803 w 2079"/>
                    <a:gd name="T47" fmla="*/ 4007 h 4007"/>
                    <a:gd name="T48" fmla="*/ 231 w 2079"/>
                    <a:gd name="T49" fmla="*/ 4003 h 4007"/>
                    <a:gd name="T50" fmla="*/ 150 w 2079"/>
                    <a:gd name="T51" fmla="*/ 3980 h 4007"/>
                    <a:gd name="T52" fmla="*/ 81 w 2079"/>
                    <a:gd name="T53" fmla="*/ 3936 h 4007"/>
                    <a:gd name="T54" fmla="*/ 31 w 2079"/>
                    <a:gd name="T55" fmla="*/ 3877 h 4007"/>
                    <a:gd name="T56" fmla="*/ 4 w 2079"/>
                    <a:gd name="T57" fmla="*/ 3806 h 4007"/>
                    <a:gd name="T58" fmla="*/ 0 w 2079"/>
                    <a:gd name="T59" fmla="*/ 241 h 4007"/>
                    <a:gd name="T60" fmla="*/ 14 w 2079"/>
                    <a:gd name="T61" fmla="*/ 164 h 4007"/>
                    <a:gd name="T62" fmla="*/ 53 w 2079"/>
                    <a:gd name="T63" fmla="*/ 98 h 4007"/>
                    <a:gd name="T64" fmla="*/ 113 w 2079"/>
                    <a:gd name="T65" fmla="*/ 46 h 4007"/>
                    <a:gd name="T66" fmla="*/ 189 w 2079"/>
                    <a:gd name="T67" fmla="*/ 13 h 4007"/>
                    <a:gd name="T68" fmla="*/ 277 w 2079"/>
                    <a:gd name="T69" fmla="*/ 0 h 4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9" h="4007">
                      <a:moveTo>
                        <a:pt x="234" y="3460"/>
                      </a:moveTo>
                      <a:lnTo>
                        <a:pt x="234" y="3600"/>
                      </a:lnTo>
                      <a:lnTo>
                        <a:pt x="1845" y="3600"/>
                      </a:lnTo>
                      <a:lnTo>
                        <a:pt x="1845" y="3460"/>
                      </a:lnTo>
                      <a:lnTo>
                        <a:pt x="234" y="3460"/>
                      </a:lnTo>
                      <a:close/>
                      <a:moveTo>
                        <a:pt x="234" y="3151"/>
                      </a:moveTo>
                      <a:lnTo>
                        <a:pt x="234" y="3290"/>
                      </a:lnTo>
                      <a:lnTo>
                        <a:pt x="556" y="3290"/>
                      </a:lnTo>
                      <a:lnTo>
                        <a:pt x="556" y="3151"/>
                      </a:lnTo>
                      <a:lnTo>
                        <a:pt x="234" y="3151"/>
                      </a:lnTo>
                      <a:close/>
                      <a:moveTo>
                        <a:pt x="234" y="2842"/>
                      </a:moveTo>
                      <a:lnTo>
                        <a:pt x="234" y="2982"/>
                      </a:lnTo>
                      <a:lnTo>
                        <a:pt x="556" y="2982"/>
                      </a:lnTo>
                      <a:lnTo>
                        <a:pt x="556" y="2842"/>
                      </a:lnTo>
                      <a:lnTo>
                        <a:pt x="234" y="2842"/>
                      </a:lnTo>
                      <a:close/>
                      <a:moveTo>
                        <a:pt x="234" y="745"/>
                      </a:moveTo>
                      <a:lnTo>
                        <a:pt x="234" y="954"/>
                      </a:lnTo>
                      <a:lnTo>
                        <a:pt x="1845" y="954"/>
                      </a:lnTo>
                      <a:lnTo>
                        <a:pt x="1845" y="745"/>
                      </a:lnTo>
                      <a:lnTo>
                        <a:pt x="234" y="745"/>
                      </a:lnTo>
                      <a:close/>
                      <a:moveTo>
                        <a:pt x="234" y="412"/>
                      </a:moveTo>
                      <a:lnTo>
                        <a:pt x="234" y="622"/>
                      </a:lnTo>
                      <a:lnTo>
                        <a:pt x="1845" y="622"/>
                      </a:lnTo>
                      <a:lnTo>
                        <a:pt x="1845" y="412"/>
                      </a:lnTo>
                      <a:lnTo>
                        <a:pt x="234" y="412"/>
                      </a:lnTo>
                      <a:close/>
                      <a:moveTo>
                        <a:pt x="277" y="0"/>
                      </a:moveTo>
                      <a:lnTo>
                        <a:pt x="1803" y="0"/>
                      </a:lnTo>
                      <a:lnTo>
                        <a:pt x="1847" y="4"/>
                      </a:lnTo>
                      <a:lnTo>
                        <a:pt x="1890" y="13"/>
                      </a:lnTo>
                      <a:lnTo>
                        <a:pt x="1930" y="28"/>
                      </a:lnTo>
                      <a:lnTo>
                        <a:pt x="1966" y="46"/>
                      </a:lnTo>
                      <a:lnTo>
                        <a:pt x="1998" y="71"/>
                      </a:lnTo>
                      <a:lnTo>
                        <a:pt x="2026" y="98"/>
                      </a:lnTo>
                      <a:lnTo>
                        <a:pt x="2048" y="130"/>
                      </a:lnTo>
                      <a:lnTo>
                        <a:pt x="2064" y="164"/>
                      </a:lnTo>
                      <a:lnTo>
                        <a:pt x="2076" y="201"/>
                      </a:lnTo>
                      <a:lnTo>
                        <a:pt x="2079" y="241"/>
                      </a:lnTo>
                      <a:lnTo>
                        <a:pt x="2079" y="3767"/>
                      </a:lnTo>
                      <a:lnTo>
                        <a:pt x="2076" y="3806"/>
                      </a:lnTo>
                      <a:lnTo>
                        <a:pt x="2064" y="3844"/>
                      </a:lnTo>
                      <a:lnTo>
                        <a:pt x="2048" y="3877"/>
                      </a:lnTo>
                      <a:lnTo>
                        <a:pt x="2026" y="3909"/>
                      </a:lnTo>
                      <a:lnTo>
                        <a:pt x="1998" y="3936"/>
                      </a:lnTo>
                      <a:lnTo>
                        <a:pt x="1966" y="3961"/>
                      </a:lnTo>
                      <a:lnTo>
                        <a:pt x="1930" y="3980"/>
                      </a:lnTo>
                      <a:lnTo>
                        <a:pt x="1890" y="3995"/>
                      </a:lnTo>
                      <a:lnTo>
                        <a:pt x="1847" y="4003"/>
                      </a:lnTo>
                      <a:lnTo>
                        <a:pt x="1803" y="4007"/>
                      </a:lnTo>
                      <a:lnTo>
                        <a:pt x="277" y="4007"/>
                      </a:lnTo>
                      <a:lnTo>
                        <a:pt x="231" y="4003"/>
                      </a:lnTo>
                      <a:lnTo>
                        <a:pt x="189" y="3995"/>
                      </a:lnTo>
                      <a:lnTo>
                        <a:pt x="150" y="3980"/>
                      </a:lnTo>
                      <a:lnTo>
                        <a:pt x="113" y="3961"/>
                      </a:lnTo>
                      <a:lnTo>
                        <a:pt x="81" y="3936"/>
                      </a:lnTo>
                      <a:lnTo>
                        <a:pt x="53" y="3909"/>
                      </a:lnTo>
                      <a:lnTo>
                        <a:pt x="31" y="3877"/>
                      </a:lnTo>
                      <a:lnTo>
                        <a:pt x="14" y="3844"/>
                      </a:lnTo>
                      <a:lnTo>
                        <a:pt x="4" y="3806"/>
                      </a:lnTo>
                      <a:lnTo>
                        <a:pt x="0" y="3767"/>
                      </a:lnTo>
                      <a:lnTo>
                        <a:pt x="0" y="241"/>
                      </a:lnTo>
                      <a:lnTo>
                        <a:pt x="4" y="201"/>
                      </a:lnTo>
                      <a:lnTo>
                        <a:pt x="14" y="164"/>
                      </a:lnTo>
                      <a:lnTo>
                        <a:pt x="31" y="130"/>
                      </a:lnTo>
                      <a:lnTo>
                        <a:pt x="53" y="98"/>
                      </a:lnTo>
                      <a:lnTo>
                        <a:pt x="81" y="71"/>
                      </a:lnTo>
                      <a:lnTo>
                        <a:pt x="113" y="46"/>
                      </a:lnTo>
                      <a:lnTo>
                        <a:pt x="150" y="28"/>
                      </a:lnTo>
                      <a:lnTo>
                        <a:pt x="189" y="13"/>
                      </a:lnTo>
                      <a:lnTo>
                        <a:pt x="231" y="4"/>
                      </a:lnTo>
                      <a:lnTo>
                        <a:pt x="27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483" name="Freeform 836"/>
                <p:cNvSpPr>
                  <a:spLocks noEditPoints="1"/>
                </p:cNvSpPr>
                <p:nvPr/>
              </p:nvSpPr>
              <p:spPr bwMode="auto">
                <a:xfrm>
                  <a:off x="3425891" y="3944158"/>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nvGrpSpPr>
                <p:cNvPr id="484" name="Group 17"/>
                <p:cNvGrpSpPr>
                  <a:grpSpLocks noChangeAspect="1"/>
                </p:cNvGrpSpPr>
                <p:nvPr/>
              </p:nvGrpSpPr>
              <p:grpSpPr bwMode="auto">
                <a:xfrm>
                  <a:off x="2945267" y="4415659"/>
                  <a:ext cx="1134713" cy="747235"/>
                  <a:chOff x="4825" y="2414"/>
                  <a:chExt cx="1883" cy="1240"/>
                </a:xfrm>
              </p:grpSpPr>
              <p:sp>
                <p:nvSpPr>
                  <p:cNvPr id="521" name="Freeform 520"/>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22" name="Freeform 521"/>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523" name="Freeform 522"/>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grpSp>
              <p:nvGrpSpPr>
                <p:cNvPr id="488" name="Group 17"/>
                <p:cNvGrpSpPr>
                  <a:grpSpLocks noChangeAspect="1"/>
                </p:cNvGrpSpPr>
                <p:nvPr/>
              </p:nvGrpSpPr>
              <p:grpSpPr bwMode="auto">
                <a:xfrm>
                  <a:off x="3711925" y="4537854"/>
                  <a:ext cx="1134713" cy="747235"/>
                  <a:chOff x="4825" y="2414"/>
                  <a:chExt cx="1883" cy="1240"/>
                </a:xfrm>
              </p:grpSpPr>
              <p:sp>
                <p:nvSpPr>
                  <p:cNvPr id="489" name="Freeform 488"/>
                  <p:cNvSpPr>
                    <a:spLocks noEditPoints="1"/>
                  </p:cNvSpPr>
                  <p:nvPr/>
                </p:nvSpPr>
                <p:spPr bwMode="auto">
                  <a:xfrm>
                    <a:off x="4825" y="2414"/>
                    <a:ext cx="1883" cy="1240"/>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490" name="Freeform 489"/>
                  <p:cNvSpPr>
                    <a:spLocks noEditPoints="1"/>
                  </p:cNvSpPr>
                  <p:nvPr/>
                </p:nvSpPr>
                <p:spPr bwMode="auto">
                  <a:xfrm>
                    <a:off x="5050" y="2757"/>
                    <a:ext cx="1446" cy="75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sp>
                <p:nvSpPr>
                  <p:cNvPr id="491" name="Freeform 490"/>
                  <p:cNvSpPr>
                    <a:spLocks noEditPoints="1"/>
                  </p:cNvSpPr>
                  <p:nvPr/>
                </p:nvSpPr>
                <p:spPr bwMode="auto">
                  <a:xfrm>
                    <a:off x="5195" y="2847"/>
                    <a:ext cx="1155" cy="55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503"/>
                    <a:endParaRPr lang="en-GB">
                      <a:solidFill>
                        <a:srgbClr val="505050"/>
                      </a:solidFill>
                    </a:endParaRPr>
                  </a:p>
                </p:txBody>
              </p:sp>
            </p:grpSp>
          </p:grpSp>
        </p:grpSp>
        <p:sp>
          <p:nvSpPr>
            <p:cNvPr id="112" name="Freeform 111"/>
            <p:cNvSpPr>
              <a:spLocks noChangeAspect="1"/>
            </p:cNvSpPr>
            <p:nvPr/>
          </p:nvSpPr>
          <p:spPr bwMode="auto">
            <a:xfrm>
              <a:off x="8182013" y="1607601"/>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19050" cap="flat" cmpd="sng" algn="ctr">
              <a:no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84" name="Rectangle 83"/>
            <p:cNvSpPr/>
            <p:nvPr/>
          </p:nvSpPr>
          <p:spPr>
            <a:xfrm>
              <a:off x="9039875" y="2509140"/>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600" dirty="0" smtClean="0">
                  <a:ln>
                    <a:solidFill>
                      <a:srgbClr val="FFFFFF">
                        <a:alpha val="0"/>
                      </a:srgbClr>
                    </a:solidFill>
                  </a:ln>
                  <a:solidFill>
                    <a:srgbClr val="FFFFFF"/>
                  </a:solidFill>
                  <a:latin typeface="Segoe"/>
                </a:rPr>
                <a:t>Active Directory</a:t>
              </a:r>
              <a:endParaRPr lang="en-US" sz="1600" dirty="0">
                <a:ln>
                  <a:solidFill>
                    <a:srgbClr val="FFFFFF">
                      <a:alpha val="0"/>
                    </a:srgbClr>
                  </a:solidFill>
                </a:ln>
                <a:solidFill>
                  <a:srgbClr val="FFFFFF"/>
                </a:solidFill>
                <a:latin typeface="Segoe"/>
              </a:endParaRPr>
            </a:p>
          </p:txBody>
        </p:sp>
        <p:pic>
          <p:nvPicPr>
            <p:cNvPr id="86" name="Picture 8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07211" y="2157317"/>
              <a:ext cx="1882592" cy="436495"/>
            </a:xfrm>
            <a:prstGeom prst="rect">
              <a:avLst/>
            </a:prstGeom>
          </p:spPr>
        </p:pic>
        <p:pic>
          <p:nvPicPr>
            <p:cNvPr id="89" name="Picture 88"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8431044" y="2326722"/>
              <a:ext cx="513539" cy="513539"/>
            </a:xfrm>
            <a:prstGeom prst="rect">
              <a:avLst/>
            </a:prstGeom>
            <a:noFill/>
            <a:ln>
              <a:noFill/>
            </a:ln>
          </p:spPr>
        </p:pic>
      </p:grpSp>
      <p:grpSp>
        <p:nvGrpSpPr>
          <p:cNvPr id="8" name="Group 7"/>
          <p:cNvGrpSpPr/>
          <p:nvPr/>
        </p:nvGrpSpPr>
        <p:grpSpPr>
          <a:xfrm>
            <a:off x="8182013" y="4204168"/>
            <a:ext cx="2688174" cy="1377910"/>
            <a:chOff x="8182013" y="4204168"/>
            <a:chExt cx="2688174" cy="1377910"/>
          </a:xfrm>
        </p:grpSpPr>
        <p:sp>
          <p:nvSpPr>
            <p:cNvPr id="157" name="Freeform 156"/>
            <p:cNvSpPr>
              <a:spLocks noChangeAspect="1"/>
            </p:cNvSpPr>
            <p:nvPr/>
          </p:nvSpPr>
          <p:spPr bwMode="auto">
            <a:xfrm>
              <a:off x="8182013" y="4204168"/>
              <a:ext cx="2688174" cy="1377910"/>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accent1"/>
            </a:solidFill>
            <a:ln w="19050" cap="flat" cmpd="sng" algn="ctr">
              <a:no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87" name="Rectangle 86"/>
            <p:cNvSpPr/>
            <p:nvPr/>
          </p:nvSpPr>
          <p:spPr>
            <a:xfrm>
              <a:off x="9017614" y="5127488"/>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600" dirty="0" smtClean="0">
                  <a:ln>
                    <a:solidFill>
                      <a:srgbClr val="FFFFFF">
                        <a:alpha val="0"/>
                      </a:srgbClr>
                    </a:solidFill>
                  </a:ln>
                  <a:solidFill>
                    <a:srgbClr val="FFFFFF"/>
                  </a:solidFill>
                  <a:latin typeface="Segoe"/>
                </a:rPr>
                <a:t>Active Directory</a:t>
              </a:r>
              <a:endParaRPr lang="en-US" sz="1600" dirty="0">
                <a:ln>
                  <a:solidFill>
                    <a:srgbClr val="FFFFFF">
                      <a:alpha val="0"/>
                    </a:srgbClr>
                  </a:solidFill>
                </a:ln>
                <a:solidFill>
                  <a:srgbClr val="FFFFFF"/>
                </a:solidFill>
                <a:latin typeface="Segoe"/>
              </a:endParaRP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84950" y="4775665"/>
              <a:ext cx="1882592" cy="436495"/>
            </a:xfrm>
            <a:prstGeom prst="rect">
              <a:avLst/>
            </a:prstGeom>
          </p:spPr>
        </p:pic>
        <p:pic>
          <p:nvPicPr>
            <p:cNvPr id="91" name="Picture 9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8410500" y="4924619"/>
              <a:ext cx="513539" cy="513539"/>
            </a:xfrm>
            <a:prstGeom prst="rect">
              <a:avLst/>
            </a:prstGeom>
            <a:noFill/>
            <a:ln>
              <a:noFill/>
            </a:ln>
          </p:spPr>
        </p:pic>
      </p:grpSp>
    </p:spTree>
    <p:extLst>
      <p:ext uri="{BB962C8B-B14F-4D97-AF65-F5344CB8AC3E}">
        <p14:creationId xmlns:p14="http://schemas.microsoft.com/office/powerpoint/2010/main" val="8176183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64"/>
                                        </p:tgtEl>
                                        <p:attrNameLst>
                                          <p:attrName>style.visibility</p:attrName>
                                        </p:attrNameLst>
                                      </p:cBhvr>
                                      <p:to>
                                        <p:strVal val="visible"/>
                                      </p:to>
                                    </p:set>
                                    <p:animEffect transition="in" filter="fade">
                                      <p:cBhvr>
                                        <p:cTn id="11" dur="500"/>
                                        <p:tgtEl>
                                          <p:spTgt spid="1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117"/>
                                        </p:tgtEl>
                                        <p:attrNameLst>
                                          <p:attrName>style.visibility</p:attrName>
                                        </p:attrNameLst>
                                      </p:cBhvr>
                                      <p:to>
                                        <p:strVal val="visible"/>
                                      </p:to>
                                    </p:set>
                                    <p:animEffect transition="in" filter="wipe(left)">
                                      <p:cBhvr>
                                        <p:cTn id="15" dur="500"/>
                                        <p:tgtEl>
                                          <p:spTgt spid="117"/>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1500"/>
                            </p:stCondLst>
                            <p:childTnLst>
                              <p:par>
                                <p:cTn id="21" presetID="22" presetClass="entr" presetSubtype="8" fill="hold" nodeType="afterEffect">
                                  <p:stCondLst>
                                    <p:cond delay="0"/>
                                  </p:stCondLst>
                                  <p:childTnLst>
                                    <p:set>
                                      <p:cBhvr>
                                        <p:cTn id="22" dur="1" fill="hold">
                                          <p:stCondLst>
                                            <p:cond delay="0"/>
                                          </p:stCondLst>
                                        </p:cTn>
                                        <p:tgtEl>
                                          <p:spTgt spid="116"/>
                                        </p:tgtEl>
                                        <p:attrNameLst>
                                          <p:attrName>style.visibility</p:attrName>
                                        </p:attrNameLst>
                                      </p:cBhvr>
                                      <p:to>
                                        <p:strVal val="visible"/>
                                      </p:to>
                                    </p:set>
                                    <p:animEffect transition="in" filter="wipe(left)">
                                      <p:cBhvr>
                                        <p:cTn id="23" dur="500"/>
                                        <p:tgtEl>
                                          <p:spTgt spid="1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52"/>
                                        </p:tgtEl>
                                        <p:attrNameLst>
                                          <p:attrName>style.visibility</p:attrName>
                                        </p:attrNameLst>
                                      </p:cBhvr>
                                      <p:to>
                                        <p:strVal val="visible"/>
                                      </p:to>
                                    </p:set>
                                    <p:animEffect transition="in" filter="fade">
                                      <p:cBhvr>
                                        <p:cTn id="26" dur="500"/>
                                        <p:tgtEl>
                                          <p:spTgt spid="552"/>
                                        </p:tgtEl>
                                      </p:cBhvr>
                                    </p:animEffect>
                                  </p:childTnLst>
                                </p:cTn>
                              </p:par>
                            </p:childTnLst>
                          </p:cTn>
                        </p:par>
                        <p:par>
                          <p:cTn id="27" fill="hold">
                            <p:stCondLst>
                              <p:cond delay="2000"/>
                            </p:stCondLst>
                            <p:childTnLst>
                              <p:par>
                                <p:cTn id="28" presetID="22" presetClass="entr" presetSubtype="2" fill="hold" nodeType="afterEffect">
                                  <p:stCondLst>
                                    <p:cond delay="0"/>
                                  </p:stCondLst>
                                  <p:childTnLst>
                                    <p:set>
                                      <p:cBhvr>
                                        <p:cTn id="29" dur="1" fill="hold">
                                          <p:stCondLst>
                                            <p:cond delay="0"/>
                                          </p:stCondLst>
                                        </p:cTn>
                                        <p:tgtEl>
                                          <p:spTgt spid="512"/>
                                        </p:tgtEl>
                                        <p:attrNameLst>
                                          <p:attrName>style.visibility</p:attrName>
                                        </p:attrNameLst>
                                      </p:cBhvr>
                                      <p:to>
                                        <p:strVal val="visible"/>
                                      </p:to>
                                    </p:set>
                                    <p:animEffect transition="in" filter="wipe(right)">
                                      <p:cBhvr>
                                        <p:cTn id="30" dur="500"/>
                                        <p:tgtEl>
                                          <p:spTgt spid="512"/>
                                        </p:tgtEl>
                                      </p:cBhvr>
                                    </p:animEffect>
                                  </p:childTnLst>
                                </p:cTn>
                              </p:par>
                            </p:childTnLst>
                          </p:cTn>
                        </p:par>
                        <p:par>
                          <p:cTn id="31" fill="hold">
                            <p:stCondLst>
                              <p:cond delay="2500"/>
                            </p:stCondLst>
                            <p:childTnLst>
                              <p:par>
                                <p:cTn id="32" presetID="10" presetClass="entr" presetSubtype="0" fill="hold" nodeType="afterEffect">
                                  <p:stCondLst>
                                    <p:cond delay="0"/>
                                  </p:stCondLst>
                                  <p:childTnLst>
                                    <p:set>
                                      <p:cBhvr>
                                        <p:cTn id="33" dur="1" fill="hold">
                                          <p:stCondLst>
                                            <p:cond delay="0"/>
                                          </p:stCondLst>
                                        </p:cTn>
                                        <p:tgtEl>
                                          <p:spTgt spid="504"/>
                                        </p:tgtEl>
                                        <p:attrNameLst>
                                          <p:attrName>style.visibility</p:attrName>
                                        </p:attrNameLst>
                                      </p:cBhvr>
                                      <p:to>
                                        <p:strVal val="visible"/>
                                      </p:to>
                                    </p:set>
                                    <p:animEffect transition="in" filter="fade">
                                      <p:cBhvr>
                                        <p:cTn id="34" dur="500"/>
                                        <p:tgtEl>
                                          <p:spTgt spid="504"/>
                                        </p:tgtEl>
                                      </p:cBhvr>
                                    </p:animEffect>
                                  </p:childTnLst>
                                </p:cTn>
                              </p:par>
                            </p:childTnLst>
                          </p:cTn>
                        </p:par>
                        <p:par>
                          <p:cTn id="35" fill="hold">
                            <p:stCondLst>
                              <p:cond delay="3000"/>
                            </p:stCondLst>
                            <p:childTnLst>
                              <p:par>
                                <p:cTn id="36" presetID="22" presetClass="entr" presetSubtype="2" fill="hold" nodeType="afterEffect">
                                  <p:stCondLst>
                                    <p:cond delay="0"/>
                                  </p:stCondLst>
                                  <p:childTnLst>
                                    <p:set>
                                      <p:cBhvr>
                                        <p:cTn id="37" dur="1" fill="hold">
                                          <p:stCondLst>
                                            <p:cond delay="0"/>
                                          </p:stCondLst>
                                        </p:cTn>
                                        <p:tgtEl>
                                          <p:spTgt spid="577"/>
                                        </p:tgtEl>
                                        <p:attrNameLst>
                                          <p:attrName>style.visibility</p:attrName>
                                        </p:attrNameLst>
                                      </p:cBhvr>
                                      <p:to>
                                        <p:strVal val="visible"/>
                                      </p:to>
                                    </p:set>
                                    <p:animEffect transition="in" filter="wipe(right)">
                                      <p:cBhvr>
                                        <p:cTn id="38" dur="500"/>
                                        <p:tgtEl>
                                          <p:spTgt spid="577"/>
                                        </p:tgtEl>
                                      </p:cBhvr>
                                    </p:animEffect>
                                  </p:childTnLst>
                                </p:cTn>
                              </p:par>
                              <p:par>
                                <p:cTn id="39" presetID="1" presetClass="entr" presetSubtype="0" fill="hold"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Freeform 124"/>
          <p:cNvSpPr/>
          <p:nvPr/>
        </p:nvSpPr>
        <p:spPr bwMode="auto">
          <a:xfrm rot="155795" flipV="1">
            <a:off x="7049922" y="2808070"/>
            <a:ext cx="1797267" cy="45719"/>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Rectangle 2"/>
          <p:cNvSpPr/>
          <p:nvPr/>
        </p:nvSpPr>
        <p:spPr>
          <a:xfrm>
            <a:off x="258538" y="3299776"/>
            <a:ext cx="4029486"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1200+ Preintegrated </a:t>
            </a:r>
            <a:r>
              <a:rPr lang="en-US" sz="2000" spc="-90" dirty="0">
                <a:gradFill>
                  <a:gsLst>
                    <a:gs pos="3670">
                      <a:srgbClr val="505050"/>
                    </a:gs>
                    <a:gs pos="100000">
                      <a:srgbClr val="505050"/>
                    </a:gs>
                  </a:gsLst>
                  <a:lin ang="5400000" scaled="0"/>
                </a:gradFill>
              </a:rPr>
              <a:t>popular </a:t>
            </a:r>
            <a:r>
              <a:rPr lang="en-US" sz="2000" spc="-90" dirty="0" smtClean="0">
                <a:gradFill>
                  <a:gsLst>
                    <a:gs pos="3670">
                      <a:srgbClr val="505050"/>
                    </a:gs>
                    <a:gs pos="100000">
                      <a:srgbClr val="505050"/>
                    </a:gs>
                  </a:gsLst>
                  <a:lin ang="5400000" scaled="0"/>
                </a:gradFill>
              </a:rPr>
              <a:t/>
            </a:r>
            <a:br>
              <a:rPr lang="en-US" sz="2000" spc="-90" dirty="0" smtClean="0">
                <a:gradFill>
                  <a:gsLst>
                    <a:gs pos="3670">
                      <a:srgbClr val="505050"/>
                    </a:gs>
                    <a:gs pos="100000">
                      <a:srgbClr val="505050"/>
                    </a:gs>
                  </a:gsLst>
                  <a:lin ang="5400000" scaled="0"/>
                </a:gradFill>
              </a:rPr>
            </a:br>
            <a:r>
              <a:rPr lang="en-US" sz="2000" spc="-90" dirty="0" smtClean="0">
                <a:gradFill>
                  <a:gsLst>
                    <a:gs pos="3670">
                      <a:srgbClr val="505050"/>
                    </a:gs>
                    <a:gs pos="100000">
                      <a:srgbClr val="505050"/>
                    </a:gs>
                  </a:gsLst>
                  <a:lin ang="5400000" scaled="0"/>
                </a:gradFill>
              </a:rPr>
              <a:t>SaaS apps.</a:t>
            </a:r>
            <a:endParaRPr lang="en-US" sz="2000" spc="-90" dirty="0">
              <a:gradFill>
                <a:gsLst>
                  <a:gs pos="3670">
                    <a:srgbClr val="505050"/>
                  </a:gs>
                  <a:gs pos="100000">
                    <a:srgbClr val="505050"/>
                  </a:gs>
                </a:gsLst>
                <a:lin ang="5400000" scaled="0"/>
              </a:gradFill>
            </a:endParaRPr>
          </a:p>
        </p:txBody>
      </p:sp>
      <p:sp>
        <p:nvSpPr>
          <p:cNvPr id="16" name="Rectangle 15"/>
          <p:cNvSpPr/>
          <p:nvPr/>
        </p:nvSpPr>
        <p:spPr>
          <a:xfrm>
            <a:off x="281515" y="2128631"/>
            <a:ext cx="4090258"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Connect and Sync </a:t>
            </a:r>
            <a:r>
              <a:rPr lang="en-US" sz="2000" spc="-90" dirty="0" smtClean="0">
                <a:gradFill>
                  <a:gsLst>
                    <a:gs pos="3670">
                      <a:srgbClr val="505050"/>
                    </a:gs>
                    <a:gs pos="100000">
                      <a:srgbClr val="505050"/>
                    </a:gs>
                  </a:gsLst>
                  <a:lin ang="5400000" scaled="0"/>
                </a:gradFill>
              </a:rPr>
              <a:t>on-premises directories with Azure</a:t>
            </a:r>
            <a:r>
              <a:rPr lang="en-US" sz="2000" spc="-90" dirty="0">
                <a:gradFill>
                  <a:gsLst>
                    <a:gs pos="3670">
                      <a:srgbClr val="505050"/>
                    </a:gs>
                    <a:gs pos="100000">
                      <a:srgbClr val="505050"/>
                    </a:gs>
                  </a:gsLst>
                  <a:lin ang="5400000" scaled="0"/>
                </a:gradFill>
              </a:rPr>
              <a:t>.</a:t>
            </a:r>
          </a:p>
        </p:txBody>
      </p:sp>
      <p:grpSp>
        <p:nvGrpSpPr>
          <p:cNvPr id="184" name="Group 183"/>
          <p:cNvGrpSpPr/>
          <p:nvPr/>
        </p:nvGrpSpPr>
        <p:grpSpPr>
          <a:xfrm rot="900000">
            <a:off x="7608285" y="2550356"/>
            <a:ext cx="801928" cy="667864"/>
            <a:chOff x="3242937" y="2381026"/>
            <a:chExt cx="796924" cy="663700"/>
          </a:xfrm>
        </p:grpSpPr>
        <p:sp>
          <p:nvSpPr>
            <p:cNvPr id="185" name="Oval 184"/>
            <p:cNvSpPr/>
            <p:nvPr/>
          </p:nvSpPr>
          <p:spPr bwMode="auto">
            <a:xfrm>
              <a:off x="3326998" y="2432267"/>
              <a:ext cx="610136" cy="61013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86"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8" name="Rectangle 7"/>
          <p:cNvSpPr/>
          <p:nvPr/>
        </p:nvSpPr>
        <p:spPr bwMode="auto">
          <a:xfrm>
            <a:off x="12161838" y="0"/>
            <a:ext cx="274637"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7" name="Rectangle 146"/>
          <p:cNvSpPr/>
          <p:nvPr/>
        </p:nvSpPr>
        <p:spPr bwMode="auto">
          <a:xfrm>
            <a:off x="11331778" y="457635"/>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23" name="Rectangle 22"/>
          <p:cNvSpPr/>
          <p:nvPr/>
        </p:nvSpPr>
        <p:spPr bwMode="auto">
          <a:xfrm>
            <a:off x="12161838" y="-28437"/>
            <a:ext cx="274637" cy="703070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1" name="Rectangle 10"/>
          <p:cNvSpPr/>
          <p:nvPr/>
        </p:nvSpPr>
        <p:spPr bwMode="auto">
          <a:xfrm>
            <a:off x="0" y="0"/>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noFill/>
        </p:spPr>
        <p:txBody>
          <a:bodyPr lIns="1920240"/>
          <a:lstStyle/>
          <a:p>
            <a:r>
              <a:rPr lang="en-US" sz="4000" dirty="0" smtClean="0">
                <a:gradFill>
                  <a:gsLst>
                    <a:gs pos="6195">
                      <a:schemeClr val="bg2"/>
                    </a:gs>
                    <a:gs pos="100000">
                      <a:schemeClr val="bg2"/>
                    </a:gs>
                  </a:gsLst>
                  <a:lin ang="5400000" scaled="0"/>
                </a:gradFill>
              </a:rPr>
              <a:t>Your Directory on the cloud </a:t>
            </a:r>
            <a:endParaRPr lang="en-US" sz="4000" dirty="0">
              <a:gradFill>
                <a:gsLst>
                  <a:gs pos="6195">
                    <a:schemeClr val="bg2"/>
                  </a:gs>
                  <a:gs pos="100000">
                    <a:schemeClr val="bg2"/>
                  </a:gs>
                </a:gsLst>
                <a:lin ang="5400000" scaled="0"/>
              </a:gradFill>
            </a:endParaRPr>
          </a:p>
        </p:txBody>
      </p:sp>
      <p:grpSp>
        <p:nvGrpSpPr>
          <p:cNvPr id="28" name="Group 27"/>
          <p:cNvGrpSpPr/>
          <p:nvPr/>
        </p:nvGrpSpPr>
        <p:grpSpPr>
          <a:xfrm>
            <a:off x="4774127" y="4325414"/>
            <a:ext cx="2311222" cy="1518054"/>
            <a:chOff x="4774127" y="4325414"/>
            <a:chExt cx="2311222" cy="1518054"/>
          </a:xfrm>
        </p:grpSpPr>
        <p:grpSp>
          <p:nvGrpSpPr>
            <p:cNvPr id="12" name="Group 11"/>
            <p:cNvGrpSpPr/>
            <p:nvPr/>
          </p:nvGrpSpPr>
          <p:grpSpPr>
            <a:xfrm>
              <a:off x="4774127" y="4325414"/>
              <a:ext cx="2311222" cy="1518054"/>
              <a:chOff x="5945491" y="4230276"/>
              <a:chExt cx="2598473" cy="1706724"/>
            </a:xfrm>
          </p:grpSpPr>
          <p:sp>
            <p:nvSpPr>
              <p:cNvPr id="117" name="TextBox 116"/>
              <p:cNvSpPr txBox="1"/>
              <p:nvPr/>
            </p:nvSpPr>
            <p:spPr>
              <a:xfrm>
                <a:off x="6078025" y="5750145"/>
                <a:ext cx="2333407" cy="186855"/>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dirty="0" smtClean="0">
                    <a:gradFill>
                      <a:gsLst>
                        <a:gs pos="21429">
                          <a:srgbClr val="002050"/>
                        </a:gs>
                        <a:gs pos="100000">
                          <a:srgbClr val="002050"/>
                        </a:gs>
                      </a:gsLst>
                      <a:lin ang="5400000" scaled="0"/>
                    </a:gradFill>
                  </a:rPr>
                  <a:t>SaaS apps</a:t>
                </a:r>
                <a:endParaRPr lang="en-US" sz="1200" dirty="0">
                  <a:gradFill>
                    <a:gsLst>
                      <a:gs pos="21429">
                        <a:srgbClr val="002050"/>
                      </a:gs>
                      <a:gs pos="100000">
                        <a:srgbClr val="002050"/>
                      </a:gs>
                    </a:gsLst>
                    <a:lin ang="5400000" scaled="0"/>
                  </a:gradFill>
                </a:endParaRPr>
              </a:p>
            </p:txBody>
          </p:sp>
          <p:sp>
            <p:nvSpPr>
              <p:cNvPr id="118" name="Freeform 128"/>
              <p:cNvSpPr>
                <a:spLocks noChangeAspect="1"/>
              </p:cNvSpPr>
              <p:nvPr/>
            </p:nvSpPr>
            <p:spPr bwMode="black">
              <a:xfrm>
                <a:off x="5945491" y="4230276"/>
                <a:ext cx="2598473"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grpSp>
        <p:grpSp>
          <p:nvGrpSpPr>
            <p:cNvPr id="27" name="Group 26"/>
            <p:cNvGrpSpPr/>
            <p:nvPr/>
          </p:nvGrpSpPr>
          <p:grpSpPr>
            <a:xfrm>
              <a:off x="5506030" y="4750745"/>
              <a:ext cx="1146761" cy="676304"/>
              <a:chOff x="5478037" y="4750764"/>
              <a:chExt cx="1146761" cy="676304"/>
            </a:xfrm>
          </p:grpSpPr>
          <p:sp>
            <p:nvSpPr>
              <p:cNvPr id="146" name="Rectangle 145"/>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2" name="Group 21"/>
              <p:cNvGrpSpPr/>
              <p:nvPr/>
            </p:nvGrpSpPr>
            <p:grpSpPr>
              <a:xfrm>
                <a:off x="5478037" y="4750764"/>
                <a:ext cx="1146761" cy="676304"/>
                <a:chOff x="5478037" y="4750764"/>
                <a:chExt cx="1146761" cy="676304"/>
              </a:xfrm>
            </p:grpSpPr>
            <p:sp>
              <p:nvSpPr>
                <p:cNvPr id="148"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98" name="Picture 197"/>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153" name="Rectangle 152"/>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4"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04" name="Picture 203"/>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grpSp>
      <p:pic>
        <p:nvPicPr>
          <p:cNvPr id="9" name="Picture 8"/>
          <p:cNvPicPr>
            <a:picLocks noChangeAspect="1"/>
          </p:cNvPicPr>
          <p:nvPr/>
        </p:nvPicPr>
        <p:blipFill rotWithShape="1">
          <a:blip r:embed="rId5"/>
          <a:srcRect l="305" t="1522" r="650" b="2169"/>
          <a:stretch/>
        </p:blipFill>
        <p:spPr>
          <a:xfrm>
            <a:off x="7486650" y="4291013"/>
            <a:ext cx="2538413" cy="1724025"/>
          </a:xfrm>
          <a:prstGeom prst="rect">
            <a:avLst/>
          </a:prstGeom>
          <a:ln>
            <a:solidFill>
              <a:schemeClr val="tx2"/>
            </a:solidFill>
          </a:ln>
        </p:spPr>
      </p:pic>
      <p:grpSp>
        <p:nvGrpSpPr>
          <p:cNvPr id="10" name="Group 9"/>
          <p:cNvGrpSpPr/>
          <p:nvPr/>
        </p:nvGrpSpPr>
        <p:grpSpPr>
          <a:xfrm>
            <a:off x="4909184" y="2033605"/>
            <a:ext cx="2209000" cy="1920240"/>
            <a:chOff x="4909184" y="2033605"/>
            <a:chExt cx="2209000" cy="1920240"/>
          </a:xfrm>
        </p:grpSpPr>
        <p:grpSp>
          <p:nvGrpSpPr>
            <p:cNvPr id="4" name="Group 3"/>
            <p:cNvGrpSpPr/>
            <p:nvPr/>
          </p:nvGrpSpPr>
          <p:grpSpPr>
            <a:xfrm>
              <a:off x="5022456" y="2033605"/>
              <a:ext cx="1991301" cy="1920240"/>
              <a:chOff x="4984207" y="2022643"/>
              <a:chExt cx="1991301" cy="1920240"/>
            </a:xfrm>
            <a:solidFill>
              <a:srgbClr val="FFFFFF"/>
            </a:solidFill>
          </p:grpSpPr>
          <p:sp>
            <p:nvSpPr>
              <p:cNvPr id="132" name="Oval 131"/>
              <p:cNvSpPr>
                <a:spLocks noChangeAspect="1"/>
              </p:cNvSpPr>
              <p:nvPr>
                <p:custDataLst>
                  <p:tags r:id="rId1"/>
                </p:custDataLst>
              </p:nvPr>
            </p:nvSpPr>
            <p:spPr bwMode="auto">
              <a:xfrm>
                <a:off x="4984207" y="2022643"/>
                <a:ext cx="1991301" cy="1920240"/>
              </a:xfrm>
              <a:prstGeom prst="ellipse">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grpSp>
            <p:nvGrpSpPr>
              <p:cNvPr id="134" name="Group 133"/>
              <p:cNvGrpSpPr/>
              <p:nvPr/>
            </p:nvGrpSpPr>
            <p:grpSpPr>
              <a:xfrm>
                <a:off x="5063880" y="2155422"/>
                <a:ext cx="1891596" cy="965207"/>
                <a:chOff x="792242" y="2587187"/>
                <a:chExt cx="1891596" cy="965207"/>
              </a:xfrm>
              <a:grpFill/>
            </p:grpSpPr>
            <p:sp>
              <p:nvSpPr>
                <p:cNvPr id="135" name="Rectangle 134"/>
                <p:cNvSpPr/>
                <p:nvPr/>
              </p:nvSpPr>
              <p:spPr>
                <a:xfrm>
                  <a:off x="984914" y="3336949"/>
                  <a:ext cx="1698924" cy="215445"/>
                </a:xfrm>
                <a:prstGeom prst="rect">
                  <a:avLst/>
                </a:prstGeom>
                <a:noFill/>
                <a:ln>
                  <a:noFill/>
                </a:ln>
              </p:spPr>
              <p:txBody>
                <a:bodyPr wrap="square" lIns="0" tIns="0" rIns="0" bIns="0" anchor="ctr">
                  <a:spAutoFit/>
                </a:bodyPr>
                <a:lstStyle/>
                <a:p>
                  <a:pPr algn="ctr" defTabSz="1096480" fontAlgn="base">
                    <a:spcBef>
                      <a:spcPts val="1440"/>
                    </a:spcBef>
                    <a:spcAft>
                      <a:spcPct val="0"/>
                    </a:spcAft>
                  </a:pPr>
                  <a:r>
                    <a:rPr lang="en-US" sz="1400" dirty="0">
                      <a:ln>
                        <a:solidFill>
                          <a:srgbClr val="FFFFFF">
                            <a:alpha val="0"/>
                          </a:srgbClr>
                        </a:solidFill>
                      </a:ln>
                      <a:gradFill>
                        <a:gsLst>
                          <a:gs pos="2917">
                            <a:srgbClr val="000174"/>
                          </a:gs>
                          <a:gs pos="30000">
                            <a:srgbClr val="000174"/>
                          </a:gs>
                        </a:gsLst>
                        <a:lin ang="5400000" scaled="0"/>
                      </a:gradFill>
                    </a:rPr>
                    <a:t>Active Directory</a:t>
                  </a:r>
                </a:p>
              </p:txBody>
            </p:sp>
            <p:pic>
              <p:nvPicPr>
                <p:cNvPr id="136" name="Picture 13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3673" y="2587187"/>
                  <a:ext cx="810867" cy="536544"/>
                </a:xfrm>
                <a:prstGeom prst="rect">
                  <a:avLst/>
                </a:prstGeom>
                <a:grpFill/>
                <a:ln>
                  <a:noFill/>
                </a:ln>
              </p:spPr>
            </p:pic>
            <p:pic>
              <p:nvPicPr>
                <p:cNvPr id="138" name="Picture 137"/>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2242" y="3051072"/>
                  <a:ext cx="1838351" cy="432110"/>
                </a:xfrm>
                <a:prstGeom prst="rect">
                  <a:avLst/>
                </a:prstGeom>
                <a:noFill/>
                <a:ln>
                  <a:noFill/>
                </a:ln>
              </p:spPr>
            </p:pic>
          </p:grpSp>
        </p:grpSp>
        <p:sp>
          <p:nvSpPr>
            <p:cNvPr id="103" name="TextBox 102"/>
            <p:cNvSpPr txBox="1"/>
            <p:nvPr/>
          </p:nvSpPr>
          <p:spPr>
            <a:xfrm>
              <a:off x="4909184" y="3335523"/>
              <a:ext cx="2209000" cy="443198"/>
            </a:xfrm>
            <a:prstGeom prst="rect">
              <a:avLst/>
            </a:prstGeom>
            <a:noFill/>
            <a:ln>
              <a:noFill/>
            </a:ln>
          </p:spPr>
          <p:txBody>
            <a:bodyPr wrap="square" lIns="0" tIns="0" rIns="0" bIns="0" anchor="ctr">
              <a:spAutoFit/>
            </a:bodyPr>
            <a:lstStyle>
              <a:defPPr>
                <a:defRPr lang="en-US"/>
              </a:defPPr>
              <a:lvl1pPr algn="ctr" defTabSz="1096480" fontAlgn="base">
                <a:spcBef>
                  <a:spcPts val="1440"/>
                </a:spcBef>
                <a:spcAft>
                  <a:spcPct val="0"/>
                </a:spcAft>
                <a:defRPr sz="1400">
                  <a:ln>
                    <a:solidFill>
                      <a:srgbClr val="FFFFFF">
                        <a:alpha val="0"/>
                      </a:srgbClr>
                    </a:solidFill>
                  </a:ln>
                  <a:gradFill>
                    <a:gsLst>
                      <a:gs pos="2917">
                        <a:srgbClr val="000174"/>
                      </a:gs>
                      <a:gs pos="30000">
                        <a:srgbClr val="000174"/>
                      </a:gs>
                    </a:gsLst>
                    <a:lin ang="5400000" scaled="0"/>
                  </a:gradFill>
                </a:defRPr>
              </a:lvl1pPr>
            </a:lstStyle>
            <a:p>
              <a:pPr>
                <a:lnSpc>
                  <a:spcPct val="90000"/>
                </a:lnSpc>
                <a:spcBef>
                  <a:spcPts val="0"/>
                </a:spcBef>
              </a:pPr>
              <a:r>
                <a:rPr lang="en-US" sz="1600" dirty="0">
                  <a:gradFill>
                    <a:gsLst>
                      <a:gs pos="21429">
                        <a:srgbClr val="002050"/>
                      </a:gs>
                      <a:gs pos="100000">
                        <a:srgbClr val="002050"/>
                      </a:gs>
                    </a:gsLst>
                    <a:lin ang="5400000" scaled="0"/>
                  </a:gradFill>
                </a:rPr>
                <a:t>Other </a:t>
              </a:r>
              <a:r>
                <a:rPr lang="en-US" sz="1600" dirty="0" smtClean="0">
                  <a:gradFill>
                    <a:gsLst>
                      <a:gs pos="21429">
                        <a:srgbClr val="002050"/>
                      </a:gs>
                      <a:gs pos="100000">
                        <a:srgbClr val="002050"/>
                      </a:gs>
                    </a:gsLst>
                    <a:lin ang="5400000" scaled="0"/>
                  </a:gradFill>
                </a:rPr>
                <a:t/>
              </a:r>
              <a:br>
                <a:rPr lang="en-US" sz="1600" dirty="0" smtClean="0">
                  <a:gradFill>
                    <a:gsLst>
                      <a:gs pos="21429">
                        <a:srgbClr val="002050"/>
                      </a:gs>
                      <a:gs pos="100000">
                        <a:srgbClr val="002050"/>
                      </a:gs>
                    </a:gsLst>
                    <a:lin ang="5400000" scaled="0"/>
                  </a:gradFill>
                </a:rPr>
              </a:br>
              <a:r>
                <a:rPr lang="en-US" sz="1600" dirty="0" smtClean="0">
                  <a:gradFill>
                    <a:gsLst>
                      <a:gs pos="21429">
                        <a:srgbClr val="002050"/>
                      </a:gs>
                      <a:gs pos="100000">
                        <a:srgbClr val="002050"/>
                      </a:gs>
                    </a:gsLst>
                    <a:lin ang="5400000" scaled="0"/>
                  </a:gradFill>
                </a:rPr>
                <a:t>Directories</a:t>
              </a:r>
              <a:endParaRPr lang="en-US" sz="1600" dirty="0">
                <a:gradFill>
                  <a:gsLst>
                    <a:gs pos="21429">
                      <a:srgbClr val="002050"/>
                    </a:gs>
                    <a:gs pos="100000">
                      <a:srgbClr val="002050"/>
                    </a:gs>
                  </a:gsLst>
                  <a:lin ang="5400000" scaled="0"/>
                </a:gradFill>
              </a:endParaRPr>
            </a:p>
          </p:txBody>
        </p:sp>
        <p:sp>
          <p:nvSpPr>
            <p:cNvPr id="5" name="Plus 4"/>
            <p:cNvSpPr/>
            <p:nvPr/>
          </p:nvSpPr>
          <p:spPr bwMode="auto">
            <a:xfrm>
              <a:off x="5905597" y="3141274"/>
              <a:ext cx="204180" cy="191734"/>
            </a:xfrm>
            <a:prstGeom prst="mathPlus">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grpSp>
      <p:grpSp>
        <p:nvGrpSpPr>
          <p:cNvPr id="85" name="Group 84"/>
          <p:cNvGrpSpPr/>
          <p:nvPr/>
        </p:nvGrpSpPr>
        <p:grpSpPr>
          <a:xfrm>
            <a:off x="215207" y="199825"/>
            <a:ext cx="1731568" cy="1731568"/>
            <a:chOff x="325131" y="3296296"/>
            <a:chExt cx="2880360" cy="2880360"/>
          </a:xfrm>
        </p:grpSpPr>
        <p:sp>
          <p:nvSpPr>
            <p:cNvPr id="86" name="Oval 85"/>
            <p:cNvSpPr/>
            <p:nvPr/>
          </p:nvSpPr>
          <p:spPr bwMode="auto">
            <a:xfrm>
              <a:off x="325131" y="3296296"/>
              <a:ext cx="2880360" cy="288036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7" name="Group 4"/>
            <p:cNvGrpSpPr>
              <a:grpSpLocks noChangeAspect="1"/>
            </p:cNvGrpSpPr>
            <p:nvPr/>
          </p:nvGrpSpPr>
          <p:grpSpPr bwMode="auto">
            <a:xfrm>
              <a:off x="1232924" y="4912596"/>
              <a:ext cx="1064774" cy="1058056"/>
              <a:chOff x="399" y="1105"/>
              <a:chExt cx="1585" cy="1575"/>
            </a:xfrm>
            <a:solidFill>
              <a:srgbClr val="969696"/>
            </a:solidFill>
          </p:grpSpPr>
          <p:sp>
            <p:nvSpPr>
              <p:cNvPr id="112"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9"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0"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88" name="Group 87"/>
            <p:cNvGrpSpPr/>
            <p:nvPr/>
          </p:nvGrpSpPr>
          <p:grpSpPr>
            <a:xfrm>
              <a:off x="602418" y="4664783"/>
              <a:ext cx="437223" cy="506564"/>
              <a:chOff x="5394326" y="4936834"/>
              <a:chExt cx="720725" cy="835025"/>
            </a:xfrm>
            <a:solidFill>
              <a:schemeClr val="bg2"/>
            </a:solidFill>
          </p:grpSpPr>
          <p:sp>
            <p:nvSpPr>
              <p:cNvPr id="104"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5"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89" name="Freeform 6"/>
            <p:cNvSpPr>
              <a:spLocks noEditPoints="1"/>
            </p:cNvSpPr>
            <p:nvPr/>
          </p:nvSpPr>
          <p:spPr bwMode="auto">
            <a:xfrm>
              <a:off x="843675" y="3912646"/>
              <a:ext cx="379249" cy="461628"/>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90" name="Freeform 19"/>
            <p:cNvSpPr>
              <a:spLocks noEditPoints="1"/>
            </p:cNvSpPr>
            <p:nvPr/>
          </p:nvSpPr>
          <p:spPr bwMode="auto">
            <a:xfrm>
              <a:off x="1457704" y="3614070"/>
              <a:ext cx="618522" cy="5093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91" name="Group 90"/>
            <p:cNvGrpSpPr/>
            <p:nvPr/>
          </p:nvGrpSpPr>
          <p:grpSpPr>
            <a:xfrm>
              <a:off x="1094580" y="4167063"/>
              <a:ext cx="1269583" cy="1122073"/>
              <a:chOff x="1119447" y="2626822"/>
              <a:chExt cx="1310504" cy="1158240"/>
            </a:xfrm>
          </p:grpSpPr>
          <p:cxnSp>
            <p:nvCxnSpPr>
              <p:cNvPr id="98" name="Straight Connector 97"/>
              <p:cNvCxnSpPr/>
              <p:nvPr/>
            </p:nvCxnSpPr>
            <p:spPr>
              <a:xfrm>
                <a:off x="1119447" y="3619790"/>
                <a:ext cx="286035" cy="165272"/>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313411" y="2909455"/>
                <a:ext cx="365448" cy="543098"/>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811797" y="2626822"/>
                <a:ext cx="0" cy="714894"/>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1950863" y="2936786"/>
                <a:ext cx="342418" cy="510201"/>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186813" y="3616910"/>
                <a:ext cx="243138" cy="149946"/>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92" name="Freeform 5"/>
            <p:cNvSpPr>
              <a:spLocks noEditPoints="1"/>
            </p:cNvSpPr>
            <p:nvPr/>
          </p:nvSpPr>
          <p:spPr bwMode="auto">
            <a:xfrm>
              <a:off x="2336578" y="3846256"/>
              <a:ext cx="427200" cy="298443"/>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93" name="Group 92"/>
            <p:cNvGrpSpPr/>
            <p:nvPr/>
          </p:nvGrpSpPr>
          <p:grpSpPr>
            <a:xfrm>
              <a:off x="2181675" y="4144232"/>
              <a:ext cx="366037" cy="242717"/>
              <a:chOff x="3067050" y="1341438"/>
              <a:chExt cx="6219826" cy="4124325"/>
            </a:xfrm>
            <a:solidFill>
              <a:srgbClr val="969696"/>
            </a:solidFill>
          </p:grpSpPr>
          <p:sp>
            <p:nvSpPr>
              <p:cNvPr id="95"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6"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7"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94"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26" name="Group 125"/>
          <p:cNvGrpSpPr/>
          <p:nvPr/>
        </p:nvGrpSpPr>
        <p:grpSpPr>
          <a:xfrm>
            <a:off x="8715878" y="1997115"/>
            <a:ext cx="2923223" cy="1906721"/>
            <a:chOff x="8715878" y="1997115"/>
            <a:chExt cx="2923223" cy="1906721"/>
          </a:xfrm>
        </p:grpSpPr>
        <p:grpSp>
          <p:nvGrpSpPr>
            <p:cNvPr id="127" name="Group 126"/>
            <p:cNvGrpSpPr/>
            <p:nvPr/>
          </p:nvGrpSpPr>
          <p:grpSpPr>
            <a:xfrm>
              <a:off x="8715878" y="1997115"/>
              <a:ext cx="2923223" cy="1614829"/>
              <a:chOff x="8715878" y="1997115"/>
              <a:chExt cx="2923223" cy="1614829"/>
            </a:xfrm>
          </p:grpSpPr>
          <p:sp>
            <p:nvSpPr>
              <p:cNvPr id="129" name="Freeform 128"/>
              <p:cNvSpPr>
                <a:spLocks noChangeAspect="1"/>
              </p:cNvSpPr>
              <p:nvPr/>
            </p:nvSpPr>
            <p:spPr bwMode="black">
              <a:xfrm>
                <a:off x="8715878" y="1997115"/>
                <a:ext cx="2923223" cy="16148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30" name="Group 4"/>
              <p:cNvGrpSpPr>
                <a:grpSpLocks noChangeAspect="1"/>
              </p:cNvGrpSpPr>
              <p:nvPr/>
            </p:nvGrpSpPr>
            <p:grpSpPr bwMode="auto">
              <a:xfrm>
                <a:off x="9610146" y="2339758"/>
                <a:ext cx="1220060" cy="1212226"/>
                <a:chOff x="3248" y="1308"/>
                <a:chExt cx="1869" cy="1857"/>
              </a:xfrm>
              <a:solidFill>
                <a:schemeClr val="accent1"/>
              </a:solidFill>
            </p:grpSpPr>
            <p:sp>
              <p:nvSpPr>
                <p:cNvPr id="131" name="Freeform 5"/>
                <p:cNvSpPr>
                  <a:spLocks/>
                </p:cNvSpPr>
                <p:nvPr/>
              </p:nvSpPr>
              <p:spPr bwMode="auto">
                <a:xfrm>
                  <a:off x="4220" y="2002"/>
                  <a:ext cx="330" cy="597"/>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33" name="Freeform 6"/>
                <p:cNvSpPr>
                  <a:spLocks/>
                </p:cNvSpPr>
                <p:nvPr/>
              </p:nvSpPr>
              <p:spPr bwMode="auto">
                <a:xfrm>
                  <a:off x="3778" y="2011"/>
                  <a:ext cx="332" cy="588"/>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37" name="Freeform 7"/>
                <p:cNvSpPr>
                  <a:spLocks noEditPoints="1"/>
                </p:cNvSpPr>
                <p:nvPr/>
              </p:nvSpPr>
              <p:spPr bwMode="auto">
                <a:xfrm>
                  <a:off x="3248" y="1308"/>
                  <a:ext cx="1869" cy="1857"/>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128" name="Freeform 5"/>
            <p:cNvSpPr>
              <a:spLocks noEditPoints="1"/>
            </p:cNvSpPr>
            <p:nvPr/>
          </p:nvSpPr>
          <p:spPr bwMode="auto">
            <a:xfrm>
              <a:off x="9294659" y="3679240"/>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05" name="Group 204"/>
          <p:cNvGrpSpPr/>
          <p:nvPr/>
        </p:nvGrpSpPr>
        <p:grpSpPr>
          <a:xfrm>
            <a:off x="5501789" y="4750745"/>
            <a:ext cx="1146761" cy="676304"/>
            <a:chOff x="5478037" y="4750764"/>
            <a:chExt cx="1146761" cy="676304"/>
          </a:xfrm>
        </p:grpSpPr>
        <p:sp>
          <p:nvSpPr>
            <p:cNvPr id="206" name="Rectangle 205"/>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07" name="Group 206"/>
            <p:cNvGrpSpPr/>
            <p:nvPr/>
          </p:nvGrpSpPr>
          <p:grpSpPr>
            <a:xfrm>
              <a:off x="5478037" y="4750764"/>
              <a:ext cx="1146761" cy="676304"/>
              <a:chOff x="5478037" y="4750764"/>
              <a:chExt cx="1146761" cy="676304"/>
            </a:xfrm>
          </p:grpSpPr>
          <p:sp>
            <p:nvSpPr>
              <p:cNvPr id="208"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10" name="Picture 209"/>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219" name="Rectangle 218"/>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20"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21" name="Picture 220"/>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spTree>
    <p:extLst>
      <p:ext uri="{BB962C8B-B14F-4D97-AF65-F5344CB8AC3E}">
        <p14:creationId xmlns:p14="http://schemas.microsoft.com/office/powerpoint/2010/main" val="322919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ppt_x"/>
                                          </p:val>
                                        </p:tav>
                                        <p:tav tm="100000">
                                          <p:val>
                                            <p:strVal val="#ppt_x"/>
                                          </p:val>
                                        </p:tav>
                                      </p:tavLst>
                                    </p:anim>
                                    <p:anim calcmode="lin" valueType="num">
                                      <p:cBhvr additive="base">
                                        <p:cTn id="8" dur="75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2" presetClass="entr" presetSubtype="2" decel="100000"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additive="base">
                                        <p:cTn id="12" dur="750" fill="hold"/>
                                        <p:tgtEl>
                                          <p:spTgt spid="28"/>
                                        </p:tgtEl>
                                        <p:attrNameLst>
                                          <p:attrName>ppt_x</p:attrName>
                                        </p:attrNameLst>
                                      </p:cBhvr>
                                      <p:tavLst>
                                        <p:tav tm="0">
                                          <p:val>
                                            <p:strVal val="1+#ppt_w/2"/>
                                          </p:val>
                                        </p:tav>
                                        <p:tav tm="100000">
                                          <p:val>
                                            <p:strVal val="#ppt_x"/>
                                          </p:val>
                                        </p:tav>
                                      </p:tavLst>
                                    </p:anim>
                                    <p:anim calcmode="lin" valueType="num">
                                      <p:cBhvr additive="base">
                                        <p:cTn id="13" dur="750" fill="hold"/>
                                        <p:tgtEl>
                                          <p:spTgt spid="28"/>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1" presetClass="entr" presetSubtype="0" fill="hold" nodeType="afterEffect">
                                  <p:stCondLst>
                                    <p:cond delay="0"/>
                                  </p:stCondLst>
                                  <p:childTnLst>
                                    <p:set>
                                      <p:cBhvr>
                                        <p:cTn id="16" dur="1" fill="hold">
                                          <p:stCondLst>
                                            <p:cond delay="0"/>
                                          </p:stCondLst>
                                        </p:cTn>
                                        <p:tgtEl>
                                          <p:spTgt spid="205"/>
                                        </p:tgtEl>
                                        <p:attrNameLst>
                                          <p:attrName>style.visibility</p:attrName>
                                        </p:attrNameLst>
                                      </p:cBhvr>
                                      <p:to>
                                        <p:strVal val="visible"/>
                                      </p:to>
                                    </p:set>
                                  </p:childTnLst>
                                </p:cTn>
                              </p:par>
                              <p:par>
                                <p:cTn id="17" presetID="42" presetClass="path" presetSubtype="0" accel="50000" decel="50000" fill="hold" nodeType="withEffect">
                                  <p:stCondLst>
                                    <p:cond delay="0"/>
                                  </p:stCondLst>
                                  <p:childTnLst>
                                    <p:animMotion origin="layout" path="M -1.61603E-6 -4.12165E-6 L 0.30623 -0.39673 " pathEditMode="relative" rAng="0" ptsTypes="AA">
                                      <p:cBhvr>
                                        <p:cTn id="18" dur="1000" fill="hold"/>
                                        <p:tgtEl>
                                          <p:spTgt spid="205"/>
                                        </p:tgtEl>
                                        <p:attrNameLst>
                                          <p:attrName>ppt_x</p:attrName>
                                          <p:attrName>ppt_y</p:attrName>
                                        </p:attrNameLst>
                                      </p:cBhvr>
                                      <p:rCtr x="15305" y="-19837"/>
                                    </p:animMotion>
                                  </p:childTnLst>
                                </p:cTn>
                              </p:par>
                              <p:par>
                                <p:cTn id="19" presetID="6" presetClass="emph" presetSubtype="0" decel="100000" fill="hold" nodeType="withEffect">
                                  <p:stCondLst>
                                    <p:cond delay="0"/>
                                  </p:stCondLst>
                                  <p:childTnLst>
                                    <p:animScale>
                                      <p:cBhvr>
                                        <p:cTn id="20" dur="1000" fill="hold"/>
                                        <p:tgtEl>
                                          <p:spTgt spid="205"/>
                                        </p:tgtEl>
                                      </p:cBhvr>
                                      <p:by x="40000" y="40000"/>
                                    </p:animScale>
                                  </p:childTnLst>
                                </p:cTn>
                              </p:par>
                            </p:childTnLst>
                          </p:cTn>
                        </p:par>
                        <p:par>
                          <p:cTn id="21" fill="hold">
                            <p:stCondLst>
                              <p:cond delay="2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a:stretch>
            <a:fillRect/>
          </a:stretch>
        </p:blipFill>
        <p:spPr>
          <a:xfrm>
            <a:off x="5113457" y="946324"/>
            <a:ext cx="2569369" cy="1492091"/>
          </a:xfrm>
          <a:prstGeom prst="rect">
            <a:avLst/>
          </a:prstGeom>
        </p:spPr>
      </p:pic>
      <p:pic>
        <p:nvPicPr>
          <p:cNvPr id="26" name="Picture 25"/>
          <p:cNvPicPr>
            <a:picLocks noChangeAspect="1"/>
          </p:cNvPicPr>
          <p:nvPr/>
        </p:nvPicPr>
        <p:blipFill>
          <a:blip r:embed="rId4"/>
          <a:stretch>
            <a:fillRect/>
          </a:stretch>
        </p:blipFill>
        <p:spPr>
          <a:xfrm>
            <a:off x="117813" y="946322"/>
            <a:ext cx="5120164" cy="1560195"/>
          </a:xfrm>
          <a:prstGeom prst="rect">
            <a:avLst/>
          </a:prstGeom>
        </p:spPr>
      </p:pic>
      <p:pic>
        <p:nvPicPr>
          <p:cNvPr id="28" name="Picture 27"/>
          <p:cNvPicPr>
            <a:picLocks noChangeAspect="1"/>
          </p:cNvPicPr>
          <p:nvPr/>
        </p:nvPicPr>
        <p:blipFill>
          <a:blip r:embed="rId5"/>
          <a:stretch>
            <a:fillRect/>
          </a:stretch>
        </p:blipFill>
        <p:spPr>
          <a:xfrm>
            <a:off x="7505247" y="975820"/>
            <a:ext cx="2612708" cy="1399223"/>
          </a:xfrm>
          <a:prstGeom prst="rect">
            <a:avLst/>
          </a:prstGeom>
        </p:spPr>
      </p:pic>
      <p:pic>
        <p:nvPicPr>
          <p:cNvPr id="29" name="Picture 28"/>
          <p:cNvPicPr>
            <a:picLocks noChangeAspect="1"/>
          </p:cNvPicPr>
          <p:nvPr/>
        </p:nvPicPr>
        <p:blipFill>
          <a:blip r:embed="rId6"/>
          <a:stretch>
            <a:fillRect/>
          </a:stretch>
        </p:blipFill>
        <p:spPr>
          <a:xfrm>
            <a:off x="9947161" y="983206"/>
            <a:ext cx="2470309" cy="1405414"/>
          </a:xfrm>
          <a:prstGeom prst="rect">
            <a:avLst/>
          </a:prstGeom>
        </p:spPr>
      </p:pic>
      <p:pic>
        <p:nvPicPr>
          <p:cNvPr id="30" name="Picture 29"/>
          <p:cNvPicPr>
            <a:picLocks noChangeAspect="1"/>
          </p:cNvPicPr>
          <p:nvPr/>
        </p:nvPicPr>
        <p:blipFill>
          <a:blip r:embed="rId7"/>
          <a:stretch>
            <a:fillRect/>
          </a:stretch>
        </p:blipFill>
        <p:spPr>
          <a:xfrm>
            <a:off x="3859729" y="5366760"/>
            <a:ext cx="2507456" cy="1436370"/>
          </a:xfrm>
          <a:prstGeom prst="rect">
            <a:avLst/>
          </a:prstGeom>
        </p:spPr>
      </p:pic>
      <p:pic>
        <p:nvPicPr>
          <p:cNvPr id="31" name="Picture 30"/>
          <p:cNvPicPr>
            <a:picLocks noChangeAspect="1"/>
          </p:cNvPicPr>
          <p:nvPr/>
        </p:nvPicPr>
        <p:blipFill>
          <a:blip r:embed="rId8"/>
          <a:stretch>
            <a:fillRect/>
          </a:stretch>
        </p:blipFill>
        <p:spPr>
          <a:xfrm>
            <a:off x="2620700" y="2346271"/>
            <a:ext cx="4996339" cy="1560195"/>
          </a:xfrm>
          <a:prstGeom prst="rect">
            <a:avLst/>
          </a:prstGeom>
        </p:spPr>
      </p:pic>
      <p:pic>
        <p:nvPicPr>
          <p:cNvPr id="32" name="Picture 31"/>
          <p:cNvPicPr>
            <a:picLocks noChangeAspect="1"/>
          </p:cNvPicPr>
          <p:nvPr/>
        </p:nvPicPr>
        <p:blipFill>
          <a:blip r:embed="rId9"/>
          <a:stretch>
            <a:fillRect/>
          </a:stretch>
        </p:blipFill>
        <p:spPr>
          <a:xfrm>
            <a:off x="7547521" y="2385851"/>
            <a:ext cx="2501265" cy="1355884"/>
          </a:xfrm>
          <a:prstGeom prst="rect">
            <a:avLst/>
          </a:prstGeom>
        </p:spPr>
      </p:pic>
      <p:sp>
        <p:nvSpPr>
          <p:cNvPr id="2" name="Title 1"/>
          <p:cNvSpPr>
            <a:spLocks noGrp="1"/>
          </p:cNvSpPr>
          <p:nvPr>
            <p:ph type="title"/>
          </p:nvPr>
        </p:nvSpPr>
        <p:spPr>
          <a:xfrm>
            <a:off x="151031" y="11217"/>
            <a:ext cx="11887518" cy="914365"/>
          </a:xfrm>
        </p:spPr>
        <p:txBody>
          <a:bodyPr/>
          <a:lstStyle/>
          <a:p>
            <a:pPr lvl="0"/>
            <a:r>
              <a:rPr lang="en-US" sz="4000" spc="-90" dirty="0">
                <a:gradFill>
                  <a:gsLst>
                    <a:gs pos="21429">
                      <a:schemeClr val="bg2"/>
                    </a:gs>
                    <a:gs pos="100000">
                      <a:schemeClr val="bg2"/>
                    </a:gs>
                  </a:gsLst>
                  <a:lin ang="5400000" scaled="0"/>
                </a:gradFill>
              </a:rPr>
              <a:t>Preintegrated </a:t>
            </a:r>
            <a:r>
              <a:rPr lang="en-US" sz="4000" spc="-90" dirty="0" smtClean="0">
                <a:gradFill>
                  <a:gsLst>
                    <a:gs pos="21429">
                      <a:schemeClr val="bg2"/>
                    </a:gs>
                    <a:gs pos="100000">
                      <a:schemeClr val="bg2"/>
                    </a:gs>
                  </a:gsLst>
                  <a:lin ang="5400000" scaled="0"/>
                </a:gradFill>
              </a:rPr>
              <a:t>SaaS apps in the application gallery</a:t>
            </a:r>
            <a:br>
              <a:rPr lang="en-US" sz="4000" spc="-90" dirty="0" smtClean="0">
                <a:gradFill>
                  <a:gsLst>
                    <a:gs pos="21429">
                      <a:schemeClr val="bg2"/>
                    </a:gs>
                    <a:gs pos="100000">
                      <a:schemeClr val="bg2"/>
                    </a:gs>
                  </a:gsLst>
                  <a:lin ang="5400000" scaled="0"/>
                </a:gradFill>
              </a:rPr>
            </a:br>
            <a:r>
              <a:rPr lang="en-US" sz="4000" spc="-90" dirty="0">
                <a:gradFill>
                  <a:gsLst>
                    <a:gs pos="21429">
                      <a:schemeClr val="bg2"/>
                    </a:gs>
                    <a:gs pos="100000">
                      <a:schemeClr val="bg2"/>
                    </a:gs>
                  </a:gsLst>
                  <a:lin ang="5400000" scaled="0"/>
                </a:gradFill>
              </a:rPr>
              <a:t/>
            </a:r>
            <a:br>
              <a:rPr lang="en-US" sz="4000" spc="-90" dirty="0">
                <a:gradFill>
                  <a:gsLst>
                    <a:gs pos="21429">
                      <a:schemeClr val="bg2"/>
                    </a:gs>
                    <a:gs pos="100000">
                      <a:schemeClr val="bg2"/>
                    </a:gs>
                  </a:gsLst>
                  <a:lin ang="5400000" scaled="0"/>
                </a:gradFill>
              </a:rPr>
            </a:br>
            <a:endParaRPr lang="en-US" sz="4000" dirty="0">
              <a:gradFill>
                <a:gsLst>
                  <a:gs pos="21429">
                    <a:schemeClr val="bg2"/>
                  </a:gs>
                  <a:gs pos="100000">
                    <a:schemeClr val="bg2"/>
                  </a:gs>
                </a:gsLst>
                <a:lin ang="5400000" scaled="0"/>
              </a:gradFill>
            </a:endParaRPr>
          </a:p>
        </p:txBody>
      </p:sp>
      <p:pic>
        <p:nvPicPr>
          <p:cNvPr id="33" name="Picture 32"/>
          <p:cNvPicPr>
            <a:picLocks noChangeAspect="1"/>
          </p:cNvPicPr>
          <p:nvPr/>
        </p:nvPicPr>
        <p:blipFill>
          <a:blip r:embed="rId10"/>
          <a:stretch>
            <a:fillRect/>
          </a:stretch>
        </p:blipFill>
        <p:spPr>
          <a:xfrm>
            <a:off x="9965911" y="2372378"/>
            <a:ext cx="1201103" cy="1343501"/>
          </a:xfrm>
          <a:prstGeom prst="rect">
            <a:avLst/>
          </a:prstGeom>
        </p:spPr>
      </p:pic>
      <p:pic>
        <p:nvPicPr>
          <p:cNvPr id="34" name="Picture 33"/>
          <p:cNvPicPr>
            <a:picLocks noChangeAspect="1"/>
          </p:cNvPicPr>
          <p:nvPr/>
        </p:nvPicPr>
        <p:blipFill>
          <a:blip r:embed="rId11"/>
          <a:stretch>
            <a:fillRect/>
          </a:stretch>
        </p:blipFill>
        <p:spPr>
          <a:xfrm>
            <a:off x="11204887" y="2386077"/>
            <a:ext cx="1108234" cy="1318736"/>
          </a:xfrm>
          <a:prstGeom prst="rect">
            <a:avLst/>
          </a:prstGeom>
        </p:spPr>
      </p:pic>
      <p:pic>
        <p:nvPicPr>
          <p:cNvPr id="35" name="Picture 34"/>
          <p:cNvPicPr>
            <a:picLocks noChangeAspect="1"/>
          </p:cNvPicPr>
          <p:nvPr/>
        </p:nvPicPr>
        <p:blipFill>
          <a:blip r:embed="rId12"/>
          <a:stretch>
            <a:fillRect/>
          </a:stretch>
        </p:blipFill>
        <p:spPr>
          <a:xfrm>
            <a:off x="72517" y="3821883"/>
            <a:ext cx="2433161" cy="1393031"/>
          </a:xfrm>
          <a:prstGeom prst="rect">
            <a:avLst/>
          </a:prstGeom>
        </p:spPr>
      </p:pic>
      <p:pic>
        <p:nvPicPr>
          <p:cNvPr id="36" name="Picture 35"/>
          <p:cNvPicPr>
            <a:picLocks noChangeAspect="1"/>
          </p:cNvPicPr>
          <p:nvPr/>
        </p:nvPicPr>
        <p:blipFill>
          <a:blip r:embed="rId13"/>
          <a:stretch>
            <a:fillRect/>
          </a:stretch>
        </p:blipFill>
        <p:spPr>
          <a:xfrm>
            <a:off x="82349" y="5389889"/>
            <a:ext cx="3652838" cy="1331119"/>
          </a:xfrm>
          <a:prstGeom prst="rect">
            <a:avLst/>
          </a:prstGeom>
        </p:spPr>
      </p:pic>
      <p:pic>
        <p:nvPicPr>
          <p:cNvPr id="37" name="Picture 36"/>
          <p:cNvPicPr>
            <a:picLocks noChangeAspect="1"/>
          </p:cNvPicPr>
          <p:nvPr/>
        </p:nvPicPr>
        <p:blipFill>
          <a:blip r:embed="rId14"/>
          <a:stretch>
            <a:fillRect/>
          </a:stretch>
        </p:blipFill>
        <p:spPr>
          <a:xfrm>
            <a:off x="2620700" y="3821883"/>
            <a:ext cx="2426970" cy="1318736"/>
          </a:xfrm>
          <a:prstGeom prst="rect">
            <a:avLst/>
          </a:prstGeom>
        </p:spPr>
      </p:pic>
      <p:pic>
        <p:nvPicPr>
          <p:cNvPr id="38" name="Picture 37"/>
          <p:cNvPicPr>
            <a:picLocks noChangeAspect="1"/>
          </p:cNvPicPr>
          <p:nvPr/>
        </p:nvPicPr>
        <p:blipFill>
          <a:blip r:embed="rId15"/>
          <a:stretch>
            <a:fillRect/>
          </a:stretch>
        </p:blipFill>
        <p:spPr>
          <a:xfrm>
            <a:off x="5147415" y="3799031"/>
            <a:ext cx="2464118" cy="1411605"/>
          </a:xfrm>
          <a:prstGeom prst="rect">
            <a:avLst/>
          </a:prstGeom>
        </p:spPr>
      </p:pic>
      <p:pic>
        <p:nvPicPr>
          <p:cNvPr id="39" name="Picture 38"/>
          <p:cNvPicPr>
            <a:picLocks noChangeAspect="1"/>
          </p:cNvPicPr>
          <p:nvPr/>
        </p:nvPicPr>
        <p:blipFill>
          <a:blip r:embed="rId16"/>
          <a:stretch>
            <a:fillRect/>
          </a:stretch>
        </p:blipFill>
        <p:spPr>
          <a:xfrm>
            <a:off x="7611533" y="3829145"/>
            <a:ext cx="1194507" cy="2829401"/>
          </a:xfrm>
          <a:prstGeom prst="rect">
            <a:avLst/>
          </a:prstGeom>
        </p:spPr>
      </p:pic>
      <p:pic>
        <p:nvPicPr>
          <p:cNvPr id="40" name="Picture 39"/>
          <p:cNvPicPr>
            <a:picLocks noChangeAspect="1"/>
          </p:cNvPicPr>
          <p:nvPr/>
        </p:nvPicPr>
        <p:blipFill>
          <a:blip r:embed="rId17"/>
          <a:stretch>
            <a:fillRect/>
          </a:stretch>
        </p:blipFill>
        <p:spPr>
          <a:xfrm>
            <a:off x="8811546" y="3821883"/>
            <a:ext cx="2437332" cy="1436934"/>
          </a:xfrm>
          <a:prstGeom prst="rect">
            <a:avLst/>
          </a:prstGeom>
        </p:spPr>
      </p:pic>
      <p:pic>
        <p:nvPicPr>
          <p:cNvPr id="41" name="Picture 40"/>
          <p:cNvPicPr>
            <a:picLocks noChangeAspect="1"/>
          </p:cNvPicPr>
          <p:nvPr/>
        </p:nvPicPr>
        <p:blipFill>
          <a:blip r:embed="rId18"/>
          <a:stretch>
            <a:fillRect/>
          </a:stretch>
        </p:blipFill>
        <p:spPr>
          <a:xfrm>
            <a:off x="11220365" y="3781321"/>
            <a:ext cx="1077278" cy="1368266"/>
          </a:xfrm>
          <a:prstGeom prst="rect">
            <a:avLst/>
          </a:prstGeom>
        </p:spPr>
      </p:pic>
      <p:pic>
        <p:nvPicPr>
          <p:cNvPr id="42" name="Picture 41"/>
          <p:cNvPicPr>
            <a:picLocks noChangeAspect="1"/>
          </p:cNvPicPr>
          <p:nvPr/>
        </p:nvPicPr>
        <p:blipFill>
          <a:blip r:embed="rId19"/>
          <a:stretch>
            <a:fillRect/>
          </a:stretch>
        </p:blipFill>
        <p:spPr>
          <a:xfrm>
            <a:off x="117813" y="2404912"/>
            <a:ext cx="1058704" cy="1324928"/>
          </a:xfrm>
          <a:prstGeom prst="rect">
            <a:avLst/>
          </a:prstGeom>
        </p:spPr>
      </p:pic>
      <p:pic>
        <p:nvPicPr>
          <p:cNvPr id="43" name="Picture 42"/>
          <p:cNvPicPr>
            <a:picLocks noChangeAspect="1"/>
          </p:cNvPicPr>
          <p:nvPr/>
        </p:nvPicPr>
        <p:blipFill>
          <a:blip r:embed="rId20"/>
          <a:stretch>
            <a:fillRect/>
          </a:stretch>
        </p:blipFill>
        <p:spPr>
          <a:xfrm>
            <a:off x="1395735" y="2384585"/>
            <a:ext cx="1120616" cy="1293971"/>
          </a:xfrm>
          <a:prstGeom prst="rect">
            <a:avLst/>
          </a:prstGeom>
        </p:spPr>
      </p:pic>
      <p:pic>
        <p:nvPicPr>
          <p:cNvPr id="44" name="Picture 43"/>
          <p:cNvPicPr>
            <a:picLocks noChangeAspect="1"/>
          </p:cNvPicPr>
          <p:nvPr/>
        </p:nvPicPr>
        <p:blipFill>
          <a:blip r:embed="rId21"/>
          <a:stretch>
            <a:fillRect/>
          </a:stretch>
        </p:blipFill>
        <p:spPr>
          <a:xfrm>
            <a:off x="6370380" y="5376046"/>
            <a:ext cx="1120616" cy="1312545"/>
          </a:xfrm>
          <a:prstGeom prst="rect">
            <a:avLst/>
          </a:prstGeom>
        </p:spPr>
      </p:pic>
      <p:pic>
        <p:nvPicPr>
          <p:cNvPr id="45" name="Picture 44"/>
          <p:cNvPicPr>
            <a:picLocks noChangeAspect="1"/>
          </p:cNvPicPr>
          <p:nvPr/>
        </p:nvPicPr>
        <p:blipFill>
          <a:blip r:embed="rId22"/>
          <a:stretch>
            <a:fillRect/>
          </a:stretch>
        </p:blipFill>
        <p:spPr>
          <a:xfrm>
            <a:off x="8921301" y="5331800"/>
            <a:ext cx="1108234" cy="1343501"/>
          </a:xfrm>
          <a:prstGeom prst="rect">
            <a:avLst/>
          </a:prstGeom>
        </p:spPr>
      </p:pic>
      <p:pic>
        <p:nvPicPr>
          <p:cNvPr id="46" name="Picture 45"/>
          <p:cNvPicPr>
            <a:picLocks noChangeAspect="1"/>
          </p:cNvPicPr>
          <p:nvPr/>
        </p:nvPicPr>
        <p:blipFill>
          <a:blip r:embed="rId23"/>
          <a:stretch>
            <a:fillRect/>
          </a:stretch>
        </p:blipFill>
        <p:spPr>
          <a:xfrm>
            <a:off x="10095076" y="5346179"/>
            <a:ext cx="1083469" cy="1411605"/>
          </a:xfrm>
          <a:prstGeom prst="rect">
            <a:avLst/>
          </a:prstGeom>
        </p:spPr>
      </p:pic>
      <p:pic>
        <p:nvPicPr>
          <p:cNvPr id="47" name="Picture 46"/>
          <p:cNvPicPr>
            <a:picLocks noChangeAspect="1"/>
          </p:cNvPicPr>
          <p:nvPr/>
        </p:nvPicPr>
        <p:blipFill>
          <a:blip r:embed="rId24"/>
          <a:stretch>
            <a:fillRect/>
          </a:stretch>
        </p:blipFill>
        <p:spPr>
          <a:xfrm>
            <a:off x="11170835" y="5328703"/>
            <a:ext cx="1126808" cy="1349693"/>
          </a:xfrm>
          <a:prstGeom prst="rect">
            <a:avLst/>
          </a:prstGeom>
        </p:spPr>
      </p:pic>
      <p:pic>
        <p:nvPicPr>
          <p:cNvPr id="48" name="Picture 47"/>
          <p:cNvPicPr>
            <a:picLocks noChangeAspect="1"/>
          </p:cNvPicPr>
          <p:nvPr/>
        </p:nvPicPr>
        <p:blipFill>
          <a:blip r:embed="rId25"/>
          <a:stretch>
            <a:fillRect/>
          </a:stretch>
        </p:blipFill>
        <p:spPr>
          <a:xfrm>
            <a:off x="10001988" y="970152"/>
            <a:ext cx="1151573" cy="1380649"/>
          </a:xfrm>
          <a:prstGeom prst="rect">
            <a:avLst/>
          </a:prstGeom>
        </p:spPr>
      </p:pic>
      <p:pic>
        <p:nvPicPr>
          <p:cNvPr id="49" name="Picture 48"/>
          <p:cNvPicPr>
            <a:picLocks noChangeAspect="1"/>
          </p:cNvPicPr>
          <p:nvPr/>
        </p:nvPicPr>
        <p:blipFill>
          <a:blip r:embed="rId26"/>
          <a:stretch>
            <a:fillRect/>
          </a:stretch>
        </p:blipFill>
        <p:spPr>
          <a:xfrm>
            <a:off x="3999717" y="2392431"/>
            <a:ext cx="1108234" cy="1411605"/>
          </a:xfrm>
          <a:prstGeom prst="rect">
            <a:avLst/>
          </a:prstGeom>
        </p:spPr>
      </p:pic>
      <p:pic>
        <p:nvPicPr>
          <p:cNvPr id="50" name="Picture 49"/>
          <p:cNvPicPr>
            <a:picLocks noChangeAspect="1"/>
          </p:cNvPicPr>
          <p:nvPr/>
        </p:nvPicPr>
        <p:blipFill>
          <a:blip r:embed="rId27"/>
          <a:stretch>
            <a:fillRect/>
          </a:stretch>
        </p:blipFill>
        <p:spPr>
          <a:xfrm>
            <a:off x="2711385" y="2377993"/>
            <a:ext cx="1071086" cy="1454944"/>
          </a:xfrm>
          <a:prstGeom prst="rect">
            <a:avLst/>
          </a:prstGeom>
        </p:spPr>
      </p:pic>
      <p:pic>
        <p:nvPicPr>
          <p:cNvPr id="51" name="Picture 50"/>
          <p:cNvPicPr>
            <a:picLocks noChangeAspect="1"/>
          </p:cNvPicPr>
          <p:nvPr/>
        </p:nvPicPr>
        <p:blipFill>
          <a:blip r:embed="rId28"/>
          <a:stretch>
            <a:fillRect/>
          </a:stretch>
        </p:blipFill>
        <p:spPr>
          <a:xfrm>
            <a:off x="8912308" y="2404539"/>
            <a:ext cx="1033939" cy="1293971"/>
          </a:xfrm>
          <a:prstGeom prst="rect">
            <a:avLst/>
          </a:prstGeom>
        </p:spPr>
      </p:pic>
    </p:spTree>
    <p:extLst>
      <p:ext uri="{BB962C8B-B14F-4D97-AF65-F5344CB8AC3E}">
        <p14:creationId xmlns:p14="http://schemas.microsoft.com/office/powerpoint/2010/main" val="4121678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Freeform 194"/>
          <p:cNvSpPr/>
          <p:nvPr/>
        </p:nvSpPr>
        <p:spPr bwMode="auto">
          <a:xfrm rot="155795" flipV="1">
            <a:off x="7049922" y="2808070"/>
            <a:ext cx="1797267" cy="45719"/>
          </a:xfrm>
          <a:custGeom>
            <a:avLst/>
            <a:gdLst>
              <a:gd name="connsiteX0" fmla="*/ 0 w 1628775"/>
              <a:gd name="connsiteY0" fmla="*/ 0 h 0"/>
              <a:gd name="connsiteX1" fmla="*/ 1628775 w 1628775"/>
              <a:gd name="connsiteY1" fmla="*/ 0 h 0"/>
            </a:gdLst>
            <a:ahLst/>
            <a:cxnLst>
              <a:cxn ang="0">
                <a:pos x="connsiteX0" y="connsiteY0"/>
              </a:cxn>
              <a:cxn ang="0">
                <a:pos x="connsiteX1" y="connsiteY1"/>
              </a:cxn>
            </a:cxnLst>
            <a:rect l="l" t="t" r="r" b="b"/>
            <a:pathLst>
              <a:path w="1628775">
                <a:moveTo>
                  <a:pt x="0" y="0"/>
                </a:moveTo>
                <a:lnTo>
                  <a:pt x="1628775" y="0"/>
                </a:lnTo>
              </a:path>
            </a:pathLst>
          </a:custGeom>
          <a:noFill/>
          <a:ln w="3810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96" name="Group 195"/>
          <p:cNvGrpSpPr/>
          <p:nvPr/>
        </p:nvGrpSpPr>
        <p:grpSpPr>
          <a:xfrm rot="900000">
            <a:off x="7608285" y="2550356"/>
            <a:ext cx="801928" cy="667864"/>
            <a:chOff x="3242937" y="2381026"/>
            <a:chExt cx="796924" cy="663700"/>
          </a:xfrm>
        </p:grpSpPr>
        <p:sp>
          <p:nvSpPr>
            <p:cNvPr id="197" name="Oval 196"/>
            <p:cNvSpPr/>
            <p:nvPr/>
          </p:nvSpPr>
          <p:spPr bwMode="auto">
            <a:xfrm>
              <a:off x="3326998" y="2432267"/>
              <a:ext cx="610136" cy="61013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99"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00" name="Group 199"/>
          <p:cNvGrpSpPr/>
          <p:nvPr/>
        </p:nvGrpSpPr>
        <p:grpSpPr>
          <a:xfrm>
            <a:off x="4774127" y="4325414"/>
            <a:ext cx="2311222" cy="1518054"/>
            <a:chOff x="4774127" y="4325414"/>
            <a:chExt cx="2311222" cy="1518054"/>
          </a:xfrm>
        </p:grpSpPr>
        <p:grpSp>
          <p:nvGrpSpPr>
            <p:cNvPr id="201" name="Group 200"/>
            <p:cNvGrpSpPr/>
            <p:nvPr/>
          </p:nvGrpSpPr>
          <p:grpSpPr>
            <a:xfrm>
              <a:off x="4774127" y="4325414"/>
              <a:ext cx="2311222" cy="1518054"/>
              <a:chOff x="5945491" y="4230276"/>
              <a:chExt cx="2598473" cy="1706724"/>
            </a:xfrm>
          </p:grpSpPr>
          <p:sp>
            <p:nvSpPr>
              <p:cNvPr id="216" name="TextBox 215"/>
              <p:cNvSpPr txBox="1"/>
              <p:nvPr/>
            </p:nvSpPr>
            <p:spPr>
              <a:xfrm>
                <a:off x="6078025" y="5750145"/>
                <a:ext cx="2333407" cy="186855"/>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dirty="0" smtClean="0">
                    <a:gradFill>
                      <a:gsLst>
                        <a:gs pos="21429">
                          <a:srgbClr val="002050"/>
                        </a:gs>
                        <a:gs pos="100000">
                          <a:srgbClr val="002050"/>
                        </a:gs>
                      </a:gsLst>
                      <a:lin ang="5400000" scaled="0"/>
                    </a:gradFill>
                  </a:rPr>
                  <a:t>SaaS apps</a:t>
                </a:r>
                <a:endParaRPr lang="en-US" sz="1200" dirty="0">
                  <a:gradFill>
                    <a:gsLst>
                      <a:gs pos="21429">
                        <a:srgbClr val="002050"/>
                      </a:gs>
                      <a:gs pos="100000">
                        <a:srgbClr val="002050"/>
                      </a:gs>
                    </a:gsLst>
                    <a:lin ang="5400000" scaled="0"/>
                  </a:gradFill>
                </a:endParaRPr>
              </a:p>
            </p:txBody>
          </p:sp>
          <p:sp>
            <p:nvSpPr>
              <p:cNvPr id="217" name="Freeform 128"/>
              <p:cNvSpPr>
                <a:spLocks noChangeAspect="1"/>
              </p:cNvSpPr>
              <p:nvPr/>
            </p:nvSpPr>
            <p:spPr bwMode="black">
              <a:xfrm>
                <a:off x="5945491" y="4230276"/>
                <a:ext cx="2598473"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grpSp>
        <p:grpSp>
          <p:nvGrpSpPr>
            <p:cNvPr id="202" name="Group 201"/>
            <p:cNvGrpSpPr/>
            <p:nvPr/>
          </p:nvGrpSpPr>
          <p:grpSpPr>
            <a:xfrm>
              <a:off x="5506030" y="4750745"/>
              <a:ext cx="1146761" cy="676304"/>
              <a:chOff x="5478037" y="4750764"/>
              <a:chExt cx="1146761" cy="676304"/>
            </a:xfrm>
          </p:grpSpPr>
          <p:sp>
            <p:nvSpPr>
              <p:cNvPr id="203" name="Rectangle 202"/>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09" name="Group 208"/>
              <p:cNvGrpSpPr/>
              <p:nvPr/>
            </p:nvGrpSpPr>
            <p:grpSpPr>
              <a:xfrm>
                <a:off x="5478037" y="4750764"/>
                <a:ext cx="1146761" cy="676304"/>
                <a:chOff x="5478037" y="4750764"/>
                <a:chExt cx="1146761" cy="676304"/>
              </a:xfrm>
            </p:grpSpPr>
            <p:sp>
              <p:nvSpPr>
                <p:cNvPr id="211"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12" name="Picture 211"/>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213" name="Rectangle 212"/>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14"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15" name="Picture 214"/>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grpSp>
      <p:grpSp>
        <p:nvGrpSpPr>
          <p:cNvPr id="222" name="Group 221"/>
          <p:cNvGrpSpPr/>
          <p:nvPr/>
        </p:nvGrpSpPr>
        <p:grpSpPr>
          <a:xfrm>
            <a:off x="4909184" y="2033605"/>
            <a:ext cx="2209000" cy="1920240"/>
            <a:chOff x="4909184" y="2033605"/>
            <a:chExt cx="2209000" cy="1920240"/>
          </a:xfrm>
        </p:grpSpPr>
        <p:grpSp>
          <p:nvGrpSpPr>
            <p:cNvPr id="223" name="Group 222"/>
            <p:cNvGrpSpPr/>
            <p:nvPr/>
          </p:nvGrpSpPr>
          <p:grpSpPr>
            <a:xfrm>
              <a:off x="5022456" y="2033605"/>
              <a:ext cx="1991301" cy="1920240"/>
              <a:chOff x="4984207" y="2022643"/>
              <a:chExt cx="1991301" cy="1920240"/>
            </a:xfrm>
            <a:solidFill>
              <a:srgbClr val="FFFFFF"/>
            </a:solidFill>
          </p:grpSpPr>
          <p:sp>
            <p:nvSpPr>
              <p:cNvPr id="226" name="Oval 225"/>
              <p:cNvSpPr>
                <a:spLocks noChangeAspect="1"/>
              </p:cNvSpPr>
              <p:nvPr>
                <p:custDataLst>
                  <p:tags r:id="rId1"/>
                </p:custDataLst>
              </p:nvPr>
            </p:nvSpPr>
            <p:spPr bwMode="auto">
              <a:xfrm>
                <a:off x="4984207" y="2022643"/>
                <a:ext cx="1991301" cy="1920240"/>
              </a:xfrm>
              <a:prstGeom prst="ellipse">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grpSp>
            <p:nvGrpSpPr>
              <p:cNvPr id="227" name="Group 226"/>
              <p:cNvGrpSpPr/>
              <p:nvPr/>
            </p:nvGrpSpPr>
            <p:grpSpPr>
              <a:xfrm>
                <a:off x="5063880" y="2155422"/>
                <a:ext cx="1891596" cy="965207"/>
                <a:chOff x="792242" y="2587187"/>
                <a:chExt cx="1891596" cy="965207"/>
              </a:xfrm>
              <a:grpFill/>
            </p:grpSpPr>
            <p:sp>
              <p:nvSpPr>
                <p:cNvPr id="228" name="Rectangle 227"/>
                <p:cNvSpPr/>
                <p:nvPr/>
              </p:nvSpPr>
              <p:spPr>
                <a:xfrm>
                  <a:off x="984914" y="3336949"/>
                  <a:ext cx="1698924" cy="215445"/>
                </a:xfrm>
                <a:prstGeom prst="rect">
                  <a:avLst/>
                </a:prstGeom>
                <a:noFill/>
                <a:ln>
                  <a:noFill/>
                </a:ln>
              </p:spPr>
              <p:txBody>
                <a:bodyPr wrap="square" lIns="0" tIns="0" rIns="0" bIns="0" anchor="ctr">
                  <a:spAutoFit/>
                </a:bodyPr>
                <a:lstStyle/>
                <a:p>
                  <a:pPr algn="ctr" defTabSz="1096480" fontAlgn="base">
                    <a:spcBef>
                      <a:spcPts val="1440"/>
                    </a:spcBef>
                    <a:spcAft>
                      <a:spcPct val="0"/>
                    </a:spcAft>
                  </a:pPr>
                  <a:r>
                    <a:rPr lang="en-US" sz="1400" dirty="0">
                      <a:ln>
                        <a:solidFill>
                          <a:srgbClr val="FFFFFF">
                            <a:alpha val="0"/>
                          </a:srgbClr>
                        </a:solidFill>
                      </a:ln>
                      <a:gradFill>
                        <a:gsLst>
                          <a:gs pos="2917">
                            <a:srgbClr val="000174"/>
                          </a:gs>
                          <a:gs pos="30000">
                            <a:srgbClr val="000174"/>
                          </a:gs>
                        </a:gsLst>
                        <a:lin ang="5400000" scaled="0"/>
                      </a:gradFill>
                    </a:rPr>
                    <a:t>Active Directory</a:t>
                  </a:r>
                </a:p>
              </p:txBody>
            </p:sp>
            <p:pic>
              <p:nvPicPr>
                <p:cNvPr id="229" name="Picture 2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3673" y="2587187"/>
                  <a:ext cx="810867" cy="536544"/>
                </a:xfrm>
                <a:prstGeom prst="rect">
                  <a:avLst/>
                </a:prstGeom>
                <a:grpFill/>
                <a:ln>
                  <a:noFill/>
                </a:ln>
              </p:spPr>
            </p:pic>
            <p:pic>
              <p:nvPicPr>
                <p:cNvPr id="230" name="Picture 229"/>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2242" y="3051072"/>
                  <a:ext cx="1838351" cy="432110"/>
                </a:xfrm>
                <a:prstGeom prst="rect">
                  <a:avLst/>
                </a:prstGeom>
                <a:noFill/>
                <a:ln>
                  <a:noFill/>
                </a:ln>
              </p:spPr>
            </p:pic>
          </p:grpSp>
        </p:grpSp>
        <p:sp>
          <p:nvSpPr>
            <p:cNvPr id="224" name="TextBox 223"/>
            <p:cNvSpPr txBox="1"/>
            <p:nvPr/>
          </p:nvSpPr>
          <p:spPr>
            <a:xfrm>
              <a:off x="4909184" y="3335523"/>
              <a:ext cx="2209000" cy="443198"/>
            </a:xfrm>
            <a:prstGeom prst="rect">
              <a:avLst/>
            </a:prstGeom>
            <a:noFill/>
            <a:ln>
              <a:noFill/>
            </a:ln>
          </p:spPr>
          <p:txBody>
            <a:bodyPr wrap="square" lIns="0" tIns="0" rIns="0" bIns="0" anchor="ctr">
              <a:spAutoFit/>
            </a:bodyPr>
            <a:lstStyle>
              <a:defPPr>
                <a:defRPr lang="en-US"/>
              </a:defPPr>
              <a:lvl1pPr algn="ctr" defTabSz="1096480" fontAlgn="base">
                <a:spcBef>
                  <a:spcPts val="1440"/>
                </a:spcBef>
                <a:spcAft>
                  <a:spcPct val="0"/>
                </a:spcAft>
                <a:defRPr sz="1400">
                  <a:ln>
                    <a:solidFill>
                      <a:srgbClr val="FFFFFF">
                        <a:alpha val="0"/>
                      </a:srgbClr>
                    </a:solidFill>
                  </a:ln>
                  <a:gradFill>
                    <a:gsLst>
                      <a:gs pos="2917">
                        <a:srgbClr val="000174"/>
                      </a:gs>
                      <a:gs pos="30000">
                        <a:srgbClr val="000174"/>
                      </a:gs>
                    </a:gsLst>
                    <a:lin ang="5400000" scaled="0"/>
                  </a:gradFill>
                </a:defRPr>
              </a:lvl1pPr>
            </a:lstStyle>
            <a:p>
              <a:pPr>
                <a:lnSpc>
                  <a:spcPct val="90000"/>
                </a:lnSpc>
                <a:spcBef>
                  <a:spcPts val="0"/>
                </a:spcBef>
              </a:pPr>
              <a:r>
                <a:rPr lang="en-US" sz="1600" dirty="0">
                  <a:gradFill>
                    <a:gsLst>
                      <a:gs pos="21429">
                        <a:srgbClr val="002050"/>
                      </a:gs>
                      <a:gs pos="100000">
                        <a:srgbClr val="002050"/>
                      </a:gs>
                    </a:gsLst>
                    <a:lin ang="5400000" scaled="0"/>
                  </a:gradFill>
                </a:rPr>
                <a:t>Other </a:t>
              </a:r>
              <a:r>
                <a:rPr lang="en-US" sz="1600" dirty="0" smtClean="0">
                  <a:gradFill>
                    <a:gsLst>
                      <a:gs pos="21429">
                        <a:srgbClr val="002050"/>
                      </a:gs>
                      <a:gs pos="100000">
                        <a:srgbClr val="002050"/>
                      </a:gs>
                    </a:gsLst>
                    <a:lin ang="5400000" scaled="0"/>
                  </a:gradFill>
                </a:rPr>
                <a:t/>
              </a:r>
              <a:br>
                <a:rPr lang="en-US" sz="1600" dirty="0" smtClean="0">
                  <a:gradFill>
                    <a:gsLst>
                      <a:gs pos="21429">
                        <a:srgbClr val="002050"/>
                      </a:gs>
                      <a:gs pos="100000">
                        <a:srgbClr val="002050"/>
                      </a:gs>
                    </a:gsLst>
                    <a:lin ang="5400000" scaled="0"/>
                  </a:gradFill>
                </a:rPr>
              </a:br>
              <a:r>
                <a:rPr lang="en-US" sz="1600" dirty="0" smtClean="0">
                  <a:gradFill>
                    <a:gsLst>
                      <a:gs pos="21429">
                        <a:srgbClr val="002050"/>
                      </a:gs>
                      <a:gs pos="100000">
                        <a:srgbClr val="002050"/>
                      </a:gs>
                    </a:gsLst>
                    <a:lin ang="5400000" scaled="0"/>
                  </a:gradFill>
                </a:rPr>
                <a:t>Directories</a:t>
              </a:r>
              <a:endParaRPr lang="en-US" sz="1600" dirty="0">
                <a:gradFill>
                  <a:gsLst>
                    <a:gs pos="21429">
                      <a:srgbClr val="002050"/>
                    </a:gs>
                    <a:gs pos="100000">
                      <a:srgbClr val="002050"/>
                    </a:gs>
                  </a:gsLst>
                  <a:lin ang="5400000" scaled="0"/>
                </a:gradFill>
              </a:endParaRPr>
            </a:p>
          </p:txBody>
        </p:sp>
        <p:sp>
          <p:nvSpPr>
            <p:cNvPr id="225" name="Plus 224"/>
            <p:cNvSpPr/>
            <p:nvPr/>
          </p:nvSpPr>
          <p:spPr bwMode="auto">
            <a:xfrm>
              <a:off x="5905597" y="3141274"/>
              <a:ext cx="204180" cy="191734"/>
            </a:xfrm>
            <a:prstGeom prst="mathPlus">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grpSp>
      <p:grpSp>
        <p:nvGrpSpPr>
          <p:cNvPr id="231" name="Group 230"/>
          <p:cNvGrpSpPr/>
          <p:nvPr/>
        </p:nvGrpSpPr>
        <p:grpSpPr>
          <a:xfrm>
            <a:off x="8715878" y="1997115"/>
            <a:ext cx="2923223" cy="1906721"/>
            <a:chOff x="8715878" y="1997115"/>
            <a:chExt cx="2923223" cy="1906721"/>
          </a:xfrm>
        </p:grpSpPr>
        <p:grpSp>
          <p:nvGrpSpPr>
            <p:cNvPr id="232" name="Group 231"/>
            <p:cNvGrpSpPr/>
            <p:nvPr/>
          </p:nvGrpSpPr>
          <p:grpSpPr>
            <a:xfrm>
              <a:off x="8715878" y="1997115"/>
              <a:ext cx="2923223" cy="1614829"/>
              <a:chOff x="8715878" y="1997115"/>
              <a:chExt cx="2923223" cy="1614829"/>
            </a:xfrm>
          </p:grpSpPr>
          <p:sp>
            <p:nvSpPr>
              <p:cNvPr id="234" name="Freeform 233"/>
              <p:cNvSpPr>
                <a:spLocks noChangeAspect="1"/>
              </p:cNvSpPr>
              <p:nvPr/>
            </p:nvSpPr>
            <p:spPr bwMode="black">
              <a:xfrm>
                <a:off x="8715878" y="1997115"/>
                <a:ext cx="2923223" cy="16148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35" name="Group 4"/>
              <p:cNvGrpSpPr>
                <a:grpSpLocks noChangeAspect="1"/>
              </p:cNvGrpSpPr>
              <p:nvPr/>
            </p:nvGrpSpPr>
            <p:grpSpPr bwMode="auto">
              <a:xfrm>
                <a:off x="9600354" y="2339758"/>
                <a:ext cx="1220060" cy="1212226"/>
                <a:chOff x="3233" y="1308"/>
                <a:chExt cx="1869" cy="1857"/>
              </a:xfrm>
              <a:solidFill>
                <a:schemeClr val="accent1"/>
              </a:solidFill>
            </p:grpSpPr>
            <p:sp>
              <p:nvSpPr>
                <p:cNvPr id="236" name="Freeform 5"/>
                <p:cNvSpPr>
                  <a:spLocks/>
                </p:cNvSpPr>
                <p:nvPr/>
              </p:nvSpPr>
              <p:spPr bwMode="auto">
                <a:xfrm>
                  <a:off x="4220" y="2002"/>
                  <a:ext cx="330" cy="597"/>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37" name="Freeform 6"/>
                <p:cNvSpPr>
                  <a:spLocks/>
                </p:cNvSpPr>
                <p:nvPr/>
              </p:nvSpPr>
              <p:spPr bwMode="auto">
                <a:xfrm>
                  <a:off x="3778" y="2011"/>
                  <a:ext cx="332" cy="588"/>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38" name="Freeform 7"/>
                <p:cNvSpPr>
                  <a:spLocks noEditPoints="1"/>
                </p:cNvSpPr>
                <p:nvPr/>
              </p:nvSpPr>
              <p:spPr bwMode="auto">
                <a:xfrm>
                  <a:off x="3233" y="1308"/>
                  <a:ext cx="1869" cy="1857"/>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233" name="Freeform 5"/>
            <p:cNvSpPr>
              <a:spLocks noEditPoints="1"/>
            </p:cNvSpPr>
            <p:nvPr/>
          </p:nvSpPr>
          <p:spPr bwMode="auto">
            <a:xfrm>
              <a:off x="9294659" y="3679240"/>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39" name="Group 238"/>
          <p:cNvGrpSpPr/>
          <p:nvPr/>
        </p:nvGrpSpPr>
        <p:grpSpPr>
          <a:xfrm>
            <a:off x="5501789" y="4750745"/>
            <a:ext cx="1146761" cy="676304"/>
            <a:chOff x="5478037" y="4750764"/>
            <a:chExt cx="1146761" cy="676304"/>
          </a:xfrm>
        </p:grpSpPr>
        <p:sp>
          <p:nvSpPr>
            <p:cNvPr id="240" name="Rectangle 239"/>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41" name="Group 240"/>
            <p:cNvGrpSpPr/>
            <p:nvPr/>
          </p:nvGrpSpPr>
          <p:grpSpPr>
            <a:xfrm>
              <a:off x="5478037" y="4750764"/>
              <a:ext cx="1146761" cy="676304"/>
              <a:chOff x="5478037" y="4750764"/>
              <a:chExt cx="1146761" cy="676304"/>
            </a:xfrm>
          </p:grpSpPr>
          <p:sp>
            <p:nvSpPr>
              <p:cNvPr id="242"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43" name="Picture 242"/>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244" name="Rectangle 243"/>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45"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246" name="Picture 245"/>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grpSp>
        <p:nvGrpSpPr>
          <p:cNvPr id="105" name="Group 104"/>
          <p:cNvGrpSpPr/>
          <p:nvPr/>
        </p:nvGrpSpPr>
        <p:grpSpPr>
          <a:xfrm>
            <a:off x="7425585" y="4279813"/>
            <a:ext cx="2311222" cy="1544272"/>
            <a:chOff x="10241078" y="-836650"/>
            <a:chExt cx="2311222" cy="1544272"/>
          </a:xfrm>
        </p:grpSpPr>
        <p:sp>
          <p:nvSpPr>
            <p:cNvPr id="113" name="Freeform 128"/>
            <p:cNvSpPr>
              <a:spLocks noChangeAspect="1"/>
            </p:cNvSpPr>
            <p:nvPr/>
          </p:nvSpPr>
          <p:spPr bwMode="black">
            <a:xfrm>
              <a:off x="10241078" y="-836650"/>
              <a:ext cx="2311222" cy="127675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7150">
              <a:no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sp>
          <p:nvSpPr>
            <p:cNvPr id="114" name="TextBox 113"/>
            <p:cNvSpPr txBox="1"/>
            <p:nvPr/>
          </p:nvSpPr>
          <p:spPr>
            <a:xfrm>
              <a:off x="10404054" y="541423"/>
              <a:ext cx="2075458" cy="166199"/>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1200" dirty="0">
                  <a:gradFill>
                    <a:gsLst>
                      <a:gs pos="21429">
                        <a:srgbClr val="002050"/>
                      </a:gs>
                      <a:gs pos="100000">
                        <a:srgbClr val="002050"/>
                      </a:gs>
                    </a:gsLst>
                    <a:lin ang="5400000" scaled="0"/>
                  </a:gradFill>
                </a:rPr>
                <a:t>LOB and custom apps</a:t>
              </a:r>
            </a:p>
          </p:txBody>
        </p:sp>
        <p:grpSp>
          <p:nvGrpSpPr>
            <p:cNvPr id="115" name="Group 114"/>
            <p:cNvGrpSpPr/>
            <p:nvPr/>
          </p:nvGrpSpPr>
          <p:grpSpPr>
            <a:xfrm>
              <a:off x="10835752" y="-192490"/>
              <a:ext cx="623421" cy="471956"/>
              <a:chOff x="6778007" y="-394500"/>
              <a:chExt cx="568124" cy="430094"/>
            </a:xfrm>
          </p:grpSpPr>
          <p:sp>
            <p:nvSpPr>
              <p:cNvPr id="122" name="Freeform 5"/>
              <p:cNvSpPr>
                <a:spLocks noEditPoints="1"/>
              </p:cNvSpPr>
              <p:nvPr/>
            </p:nvSpPr>
            <p:spPr bwMode="auto">
              <a:xfrm>
                <a:off x="6778007" y="-394500"/>
                <a:ext cx="568124" cy="430094"/>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3" name="Freeform 9"/>
              <p:cNvSpPr>
                <a:spLocks noEditPoints="1"/>
              </p:cNvSpPr>
              <p:nvPr/>
            </p:nvSpPr>
            <p:spPr bwMode="auto">
              <a:xfrm>
                <a:off x="6927006" y="-276117"/>
                <a:ext cx="322990" cy="260339"/>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16" name="Rectangle 115"/>
            <p:cNvSpPr/>
            <p:nvPr/>
          </p:nvSpPr>
          <p:spPr bwMode="auto">
            <a:xfrm>
              <a:off x="11432320" y="-425740"/>
              <a:ext cx="757887" cy="56762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19" name="Group 118"/>
            <p:cNvGrpSpPr/>
            <p:nvPr/>
          </p:nvGrpSpPr>
          <p:grpSpPr>
            <a:xfrm>
              <a:off x="11426618" y="-344444"/>
              <a:ext cx="623421" cy="471956"/>
              <a:chOff x="6778007" y="-394500"/>
              <a:chExt cx="568124" cy="430094"/>
            </a:xfrm>
          </p:grpSpPr>
          <p:sp>
            <p:nvSpPr>
              <p:cNvPr id="120" name="Freeform 5"/>
              <p:cNvSpPr>
                <a:spLocks noEditPoints="1"/>
              </p:cNvSpPr>
              <p:nvPr/>
            </p:nvSpPr>
            <p:spPr bwMode="auto">
              <a:xfrm>
                <a:off x="6778007" y="-394500"/>
                <a:ext cx="568124" cy="430094"/>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1" name="Freeform 9"/>
              <p:cNvSpPr>
                <a:spLocks noEditPoints="1"/>
              </p:cNvSpPr>
              <p:nvPr/>
            </p:nvSpPr>
            <p:spPr bwMode="auto">
              <a:xfrm>
                <a:off x="6892290" y="-276120"/>
                <a:ext cx="322990" cy="260339"/>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3" name="Rectangle 2"/>
          <p:cNvSpPr/>
          <p:nvPr/>
        </p:nvSpPr>
        <p:spPr>
          <a:xfrm>
            <a:off x="258538" y="3296216"/>
            <a:ext cx="4029486"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1200+ Preintegrated </a:t>
            </a:r>
            <a:r>
              <a:rPr lang="en-US" sz="2000" spc="-90" dirty="0">
                <a:gradFill>
                  <a:gsLst>
                    <a:gs pos="3670">
                      <a:srgbClr val="505050"/>
                    </a:gs>
                    <a:gs pos="100000">
                      <a:srgbClr val="505050"/>
                    </a:gs>
                  </a:gsLst>
                  <a:lin ang="5400000" scaled="0"/>
                </a:gradFill>
              </a:rPr>
              <a:t>popular </a:t>
            </a:r>
            <a:r>
              <a:rPr lang="en-US" sz="2000" spc="-90" dirty="0" smtClean="0">
                <a:gradFill>
                  <a:gsLst>
                    <a:gs pos="3670">
                      <a:srgbClr val="505050"/>
                    </a:gs>
                    <a:gs pos="100000">
                      <a:srgbClr val="505050"/>
                    </a:gs>
                  </a:gsLst>
                  <a:lin ang="5400000" scaled="0"/>
                </a:gradFill>
              </a:rPr>
              <a:t/>
            </a:r>
            <a:br>
              <a:rPr lang="en-US" sz="2000" spc="-90" dirty="0" smtClean="0">
                <a:gradFill>
                  <a:gsLst>
                    <a:gs pos="3670">
                      <a:srgbClr val="505050"/>
                    </a:gs>
                    <a:gs pos="100000">
                      <a:srgbClr val="505050"/>
                    </a:gs>
                  </a:gsLst>
                  <a:lin ang="5400000" scaled="0"/>
                </a:gradFill>
              </a:rPr>
            </a:br>
            <a:r>
              <a:rPr lang="en-US" sz="2000" spc="-90" dirty="0" smtClean="0">
                <a:gradFill>
                  <a:gsLst>
                    <a:gs pos="3670">
                      <a:srgbClr val="505050"/>
                    </a:gs>
                    <a:gs pos="100000">
                      <a:srgbClr val="505050"/>
                    </a:gs>
                  </a:gsLst>
                  <a:lin ang="5400000" scaled="0"/>
                </a:gradFill>
              </a:rPr>
              <a:t>SaaS apps.</a:t>
            </a:r>
            <a:endParaRPr lang="en-US" sz="2000" spc="-90" dirty="0">
              <a:gradFill>
                <a:gsLst>
                  <a:gs pos="3670">
                    <a:srgbClr val="505050"/>
                  </a:gs>
                  <a:gs pos="100000">
                    <a:srgbClr val="505050"/>
                  </a:gs>
                </a:gsLst>
                <a:lin ang="5400000" scaled="0"/>
              </a:gradFill>
            </a:endParaRPr>
          </a:p>
        </p:txBody>
      </p:sp>
      <p:sp>
        <p:nvSpPr>
          <p:cNvPr id="16" name="Rectangle 15"/>
          <p:cNvSpPr/>
          <p:nvPr/>
        </p:nvSpPr>
        <p:spPr>
          <a:xfrm>
            <a:off x="281515" y="2128631"/>
            <a:ext cx="4090258"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Connect and Sync </a:t>
            </a:r>
            <a:r>
              <a:rPr lang="en-US" sz="2000" spc="-90" dirty="0" smtClean="0">
                <a:gradFill>
                  <a:gsLst>
                    <a:gs pos="3670">
                      <a:srgbClr val="505050"/>
                    </a:gs>
                    <a:gs pos="100000">
                      <a:srgbClr val="505050"/>
                    </a:gs>
                  </a:gsLst>
                  <a:lin ang="5400000" scaled="0"/>
                </a:gradFill>
              </a:rPr>
              <a:t>on-premises directories with Azure</a:t>
            </a:r>
            <a:r>
              <a:rPr lang="en-US" sz="2000" spc="-90" dirty="0">
                <a:gradFill>
                  <a:gsLst>
                    <a:gs pos="3670">
                      <a:srgbClr val="505050"/>
                    </a:gs>
                    <a:gs pos="100000">
                      <a:srgbClr val="505050"/>
                    </a:gs>
                  </a:gsLst>
                  <a:lin ang="5400000" scaled="0"/>
                </a:gradFill>
              </a:rPr>
              <a:t>.</a:t>
            </a:r>
          </a:p>
        </p:txBody>
      </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8" name="Rectangle 7"/>
          <p:cNvSpPr/>
          <p:nvPr/>
        </p:nvSpPr>
        <p:spPr bwMode="auto">
          <a:xfrm>
            <a:off x="12161838" y="0"/>
            <a:ext cx="274637"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7" name="Rectangle 146"/>
          <p:cNvSpPr/>
          <p:nvPr/>
        </p:nvSpPr>
        <p:spPr bwMode="auto">
          <a:xfrm>
            <a:off x="11331778" y="457635"/>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useBgFill="1">
        <p:nvSpPr>
          <p:cNvPr id="23" name="Rectangle 22"/>
          <p:cNvSpPr/>
          <p:nvPr/>
        </p:nvSpPr>
        <p:spPr bwMode="auto">
          <a:xfrm>
            <a:off x="12161838" y="-28437"/>
            <a:ext cx="274637" cy="703070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1" name="Rectangle 10"/>
          <p:cNvSpPr/>
          <p:nvPr/>
        </p:nvSpPr>
        <p:spPr bwMode="auto">
          <a:xfrm>
            <a:off x="0" y="0"/>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noFill/>
        </p:spPr>
        <p:txBody>
          <a:bodyPr lIns="1920240"/>
          <a:lstStyle/>
          <a:p>
            <a:r>
              <a:rPr lang="en-US" sz="4000" dirty="0" smtClean="0">
                <a:gradFill>
                  <a:gsLst>
                    <a:gs pos="6195">
                      <a:schemeClr val="bg2"/>
                    </a:gs>
                    <a:gs pos="100000">
                      <a:schemeClr val="bg2"/>
                    </a:gs>
                  </a:gsLst>
                  <a:lin ang="5400000" scaled="0"/>
                </a:gradFill>
              </a:rPr>
              <a:t>Your Directory on the cloud </a:t>
            </a:r>
            <a:endParaRPr lang="en-US" sz="4000" dirty="0">
              <a:gradFill>
                <a:gsLst>
                  <a:gs pos="6195">
                    <a:schemeClr val="bg2"/>
                  </a:gs>
                  <a:gs pos="100000">
                    <a:schemeClr val="bg2"/>
                  </a:gs>
                </a:gsLst>
                <a:lin ang="5400000" scaled="0"/>
              </a:gradFill>
            </a:endParaRPr>
          </a:p>
        </p:txBody>
      </p:sp>
      <p:grpSp>
        <p:nvGrpSpPr>
          <p:cNvPr id="84" name="Group 83"/>
          <p:cNvGrpSpPr>
            <a:grpSpLocks noChangeAspect="1"/>
          </p:cNvGrpSpPr>
          <p:nvPr/>
        </p:nvGrpSpPr>
        <p:grpSpPr>
          <a:xfrm>
            <a:off x="9801723" y="2083628"/>
            <a:ext cx="573679" cy="338328"/>
            <a:chOff x="5478037" y="4750764"/>
            <a:chExt cx="1146761" cy="676304"/>
          </a:xfrm>
        </p:grpSpPr>
        <p:sp>
          <p:nvSpPr>
            <p:cNvPr id="85" name="Rectangle 84"/>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6" name="Group 85"/>
            <p:cNvGrpSpPr/>
            <p:nvPr/>
          </p:nvGrpSpPr>
          <p:grpSpPr>
            <a:xfrm>
              <a:off x="5478037" y="4750764"/>
              <a:ext cx="1146761" cy="676304"/>
              <a:chOff x="5478037" y="4750764"/>
              <a:chExt cx="1146761" cy="676304"/>
            </a:xfrm>
          </p:grpSpPr>
          <p:sp>
            <p:nvSpPr>
              <p:cNvPr id="87"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88" name="Picture 87"/>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89" name="Rectangle 88"/>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0"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91" name="Picture 90"/>
              <p:cNvPicPr>
                <a:picLocks noChangeAspect="1"/>
              </p:cNvPicPr>
              <p:nvPr/>
            </p:nvPicPr>
            <p:blipFill rotWithShape="1">
              <a:blip r:embed="rId4">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sp>
        <p:nvSpPr>
          <p:cNvPr id="145" name="Rectangle 144"/>
          <p:cNvSpPr/>
          <p:nvPr/>
        </p:nvSpPr>
        <p:spPr>
          <a:xfrm>
            <a:off x="281515" y="4463801"/>
            <a:ext cx="4072104" cy="1403461"/>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a:gradFill>
                  <a:gsLst>
                    <a:gs pos="3670">
                      <a:srgbClr val="505050"/>
                    </a:gs>
                    <a:gs pos="100000">
                      <a:srgbClr val="505050"/>
                    </a:gs>
                  </a:gsLst>
                  <a:lin ang="5400000" scaled="0"/>
                </a:gradFill>
              </a:rPr>
              <a:t>Easily </a:t>
            </a:r>
            <a:r>
              <a:rPr lang="en-US" sz="2000" spc="-90" dirty="0" smtClean="0">
                <a:gradFill>
                  <a:gsLst>
                    <a:gs pos="3670">
                      <a:srgbClr val="505050"/>
                    </a:gs>
                    <a:gs pos="100000">
                      <a:srgbClr val="505050"/>
                    </a:gs>
                  </a:gsLst>
                  <a:lin ang="5400000" scaled="0"/>
                </a:gradFill>
              </a:rPr>
              <a:t>add custom </a:t>
            </a:r>
            <a:r>
              <a:rPr lang="en-US" sz="2000" spc="-90" dirty="0">
                <a:gradFill>
                  <a:gsLst>
                    <a:gs pos="3670">
                      <a:srgbClr val="505050"/>
                    </a:gs>
                    <a:gs pos="100000">
                      <a:srgbClr val="505050"/>
                    </a:gs>
                  </a:gsLst>
                  <a:lin ang="5400000" scaled="0"/>
                </a:gradFill>
              </a:rPr>
              <a:t>cloud-based apps. Facilitate developers with </a:t>
            </a:r>
            <a:br>
              <a:rPr lang="en-US" sz="2000" spc="-90" dirty="0">
                <a:gradFill>
                  <a:gsLst>
                    <a:gs pos="3670">
                      <a:srgbClr val="505050"/>
                    </a:gs>
                    <a:gs pos="100000">
                      <a:srgbClr val="505050"/>
                    </a:gs>
                  </a:gsLst>
                  <a:lin ang="5400000" scaled="0"/>
                </a:gradFill>
              </a:rPr>
            </a:br>
            <a:r>
              <a:rPr lang="en-US" sz="2000" spc="-90" dirty="0">
                <a:gradFill>
                  <a:gsLst>
                    <a:gs pos="3670">
                      <a:srgbClr val="505050"/>
                    </a:gs>
                    <a:gs pos="100000">
                      <a:srgbClr val="505050"/>
                    </a:gs>
                  </a:gsLst>
                  <a:lin ang="5400000" scaled="0"/>
                </a:gradFill>
              </a:rPr>
              <a:t>identity </a:t>
            </a:r>
            <a:r>
              <a:rPr lang="en-US" sz="2000" spc="-90" dirty="0" smtClean="0">
                <a:gradFill>
                  <a:gsLst>
                    <a:gs pos="3670">
                      <a:srgbClr val="505050"/>
                    </a:gs>
                    <a:gs pos="100000">
                      <a:srgbClr val="505050"/>
                    </a:gs>
                  </a:gsLst>
                  <a:lin ang="5400000" scaled="0"/>
                </a:gradFill>
              </a:rPr>
              <a:t>management through a rich standards-based platform.</a:t>
            </a:r>
            <a:endParaRPr lang="en-US" sz="2000" spc="-90" dirty="0">
              <a:gradFill>
                <a:gsLst>
                  <a:gs pos="3670">
                    <a:srgbClr val="505050"/>
                  </a:gs>
                  <a:gs pos="100000">
                    <a:srgbClr val="505050"/>
                  </a:gs>
                </a:gsLst>
                <a:lin ang="5400000" scaled="0"/>
              </a:gradFill>
            </a:endParaRPr>
          </a:p>
        </p:txBody>
      </p:sp>
      <p:sp>
        <p:nvSpPr>
          <p:cNvPr id="149" name="Rectangle 148"/>
          <p:cNvSpPr/>
          <p:nvPr/>
        </p:nvSpPr>
        <p:spPr bwMode="auto">
          <a:xfrm>
            <a:off x="274638" y="5962812"/>
            <a:ext cx="11887200" cy="73485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noAutofit/>
          </a:bodyPr>
          <a:lstStyle/>
          <a:p>
            <a:pPr defTabSz="932290" fontAlgn="base">
              <a:lnSpc>
                <a:spcPct val="90000"/>
              </a:lnSpc>
              <a:spcBef>
                <a:spcPct val="0"/>
              </a:spcBef>
              <a:spcAft>
                <a:spcPct val="0"/>
              </a:spcAft>
            </a:pPr>
            <a:r>
              <a:rPr lang="en-US" sz="2300" spc="-90" dirty="0" smtClean="0">
                <a:gradFill>
                  <a:gsLst>
                    <a:gs pos="18367">
                      <a:srgbClr val="505050"/>
                    </a:gs>
                    <a:gs pos="48000">
                      <a:srgbClr val="505050"/>
                    </a:gs>
                  </a:gsLst>
                  <a:lin ang="5400000" scaled="0"/>
                </a:gradFill>
              </a:rPr>
              <a:t>Identities and applications in one place.</a:t>
            </a:r>
            <a:endParaRPr lang="en-US" sz="2300" spc="-90" dirty="0">
              <a:gradFill>
                <a:gsLst>
                  <a:gs pos="18367">
                    <a:srgbClr val="505050"/>
                  </a:gs>
                  <a:gs pos="48000">
                    <a:srgbClr val="505050"/>
                  </a:gs>
                </a:gsLst>
                <a:lin ang="5400000" scaled="0"/>
              </a:gradFill>
            </a:endParaRPr>
          </a:p>
        </p:txBody>
      </p:sp>
      <p:grpSp>
        <p:nvGrpSpPr>
          <p:cNvPr id="9" name="Group 8"/>
          <p:cNvGrpSpPr/>
          <p:nvPr/>
        </p:nvGrpSpPr>
        <p:grpSpPr>
          <a:xfrm>
            <a:off x="8019146" y="4772019"/>
            <a:ext cx="1214287" cy="623910"/>
            <a:chOff x="9861395" y="-604750"/>
            <a:chExt cx="1214287" cy="623910"/>
          </a:xfrm>
        </p:grpSpPr>
        <p:grpSp>
          <p:nvGrpSpPr>
            <p:cNvPr id="158" name="Group 157"/>
            <p:cNvGrpSpPr/>
            <p:nvPr/>
          </p:nvGrpSpPr>
          <p:grpSpPr>
            <a:xfrm>
              <a:off x="9861395" y="-452796"/>
              <a:ext cx="623421" cy="471956"/>
              <a:chOff x="6558825" y="-394500"/>
              <a:chExt cx="568124" cy="430094"/>
            </a:xfrm>
          </p:grpSpPr>
          <p:sp>
            <p:nvSpPr>
              <p:cNvPr id="163" name="Freeform 5"/>
              <p:cNvSpPr>
                <a:spLocks noEditPoints="1"/>
              </p:cNvSpPr>
              <p:nvPr/>
            </p:nvSpPr>
            <p:spPr bwMode="auto">
              <a:xfrm>
                <a:off x="6558825" y="-394500"/>
                <a:ext cx="568124" cy="430094"/>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4" name="Freeform 9"/>
              <p:cNvSpPr>
                <a:spLocks noEditPoints="1"/>
              </p:cNvSpPr>
              <p:nvPr/>
            </p:nvSpPr>
            <p:spPr bwMode="auto">
              <a:xfrm>
                <a:off x="6707829" y="-276117"/>
                <a:ext cx="322990" cy="260339"/>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60" name="Group 159"/>
            <p:cNvGrpSpPr/>
            <p:nvPr/>
          </p:nvGrpSpPr>
          <p:grpSpPr>
            <a:xfrm>
              <a:off x="10452261" y="-604750"/>
              <a:ext cx="623421" cy="471956"/>
              <a:chOff x="6558825" y="-394500"/>
              <a:chExt cx="568124" cy="430094"/>
            </a:xfrm>
          </p:grpSpPr>
          <p:sp>
            <p:nvSpPr>
              <p:cNvPr id="161" name="Freeform 5"/>
              <p:cNvSpPr>
                <a:spLocks noEditPoints="1"/>
              </p:cNvSpPr>
              <p:nvPr/>
            </p:nvSpPr>
            <p:spPr bwMode="auto">
              <a:xfrm>
                <a:off x="6558825" y="-394500"/>
                <a:ext cx="568124" cy="430094"/>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2" name="Freeform 9"/>
              <p:cNvSpPr>
                <a:spLocks noEditPoints="1"/>
              </p:cNvSpPr>
              <p:nvPr/>
            </p:nvSpPr>
            <p:spPr bwMode="auto">
              <a:xfrm>
                <a:off x="6673108" y="-276120"/>
                <a:ext cx="322990" cy="260339"/>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grpSp>
        <p:nvGrpSpPr>
          <p:cNvPr id="128" name="Group 127"/>
          <p:cNvGrpSpPr/>
          <p:nvPr/>
        </p:nvGrpSpPr>
        <p:grpSpPr>
          <a:xfrm>
            <a:off x="215207" y="199825"/>
            <a:ext cx="1731568" cy="1731568"/>
            <a:chOff x="325131" y="3296296"/>
            <a:chExt cx="2880360" cy="2880360"/>
          </a:xfrm>
        </p:grpSpPr>
        <p:sp>
          <p:nvSpPr>
            <p:cNvPr id="129" name="Oval 128"/>
            <p:cNvSpPr/>
            <p:nvPr/>
          </p:nvSpPr>
          <p:spPr bwMode="auto">
            <a:xfrm>
              <a:off x="325131" y="3296296"/>
              <a:ext cx="2880360" cy="2880360"/>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30" name="Group 4"/>
            <p:cNvGrpSpPr>
              <a:grpSpLocks noChangeAspect="1"/>
            </p:cNvGrpSpPr>
            <p:nvPr/>
          </p:nvGrpSpPr>
          <p:grpSpPr bwMode="auto">
            <a:xfrm>
              <a:off x="1232924" y="4912596"/>
              <a:ext cx="1064774" cy="1058056"/>
              <a:chOff x="399" y="1105"/>
              <a:chExt cx="1585" cy="1575"/>
            </a:xfrm>
            <a:solidFill>
              <a:srgbClr val="969696"/>
            </a:solidFill>
          </p:grpSpPr>
          <p:sp>
            <p:nvSpPr>
              <p:cNvPr id="192" name="Freeform 5"/>
              <p:cNvSpPr>
                <a:spLocks/>
              </p:cNvSpPr>
              <p:nvPr/>
            </p:nvSpPr>
            <p:spPr bwMode="auto">
              <a:xfrm>
                <a:off x="1213" y="1695"/>
                <a:ext cx="275" cy="494"/>
              </a:xfrm>
              <a:custGeom>
                <a:avLst/>
                <a:gdLst>
                  <a:gd name="T0" fmla="*/ 20 w 116"/>
                  <a:gd name="T1" fmla="*/ 0 h 208"/>
                  <a:gd name="T2" fmla="*/ 0 w 116"/>
                  <a:gd name="T3" fmla="*/ 7 h 208"/>
                  <a:gd name="T4" fmla="*/ 0 w 116"/>
                  <a:gd name="T5" fmla="*/ 207 h 208"/>
                  <a:gd name="T6" fmla="*/ 4 w 116"/>
                  <a:gd name="T7" fmla="*/ 208 h 208"/>
                  <a:gd name="T8" fmla="*/ 115 w 116"/>
                  <a:gd name="T9" fmla="*/ 135 h 208"/>
                  <a:gd name="T10" fmla="*/ 115 w 116"/>
                  <a:gd name="T11" fmla="*/ 131 h 208"/>
                  <a:gd name="T12" fmla="*/ 116 w 116"/>
                  <a:gd name="T13" fmla="*/ 119 h 208"/>
                  <a:gd name="T14" fmla="*/ 20 w 116"/>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208">
                    <a:moveTo>
                      <a:pt x="20" y="0"/>
                    </a:moveTo>
                    <a:cubicBezTo>
                      <a:pt x="14" y="4"/>
                      <a:pt x="7" y="6"/>
                      <a:pt x="0" y="7"/>
                    </a:cubicBezTo>
                    <a:cubicBezTo>
                      <a:pt x="0" y="207"/>
                      <a:pt x="0" y="207"/>
                      <a:pt x="0" y="207"/>
                    </a:cubicBezTo>
                    <a:cubicBezTo>
                      <a:pt x="2" y="208"/>
                      <a:pt x="3" y="208"/>
                      <a:pt x="4" y="208"/>
                    </a:cubicBezTo>
                    <a:cubicBezTo>
                      <a:pt x="115" y="135"/>
                      <a:pt x="115" y="135"/>
                      <a:pt x="115" y="135"/>
                    </a:cubicBezTo>
                    <a:cubicBezTo>
                      <a:pt x="115" y="134"/>
                      <a:pt x="115" y="132"/>
                      <a:pt x="115" y="131"/>
                    </a:cubicBezTo>
                    <a:cubicBezTo>
                      <a:pt x="115" y="127"/>
                      <a:pt x="116" y="123"/>
                      <a:pt x="116" y="119"/>
                    </a:cubicBezTo>
                    <a:lnTo>
                      <a:pt x="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3" name="Freeform 6"/>
              <p:cNvSpPr>
                <a:spLocks/>
              </p:cNvSpPr>
              <p:nvPr/>
            </p:nvSpPr>
            <p:spPr bwMode="auto">
              <a:xfrm>
                <a:off x="874" y="1702"/>
                <a:ext cx="273" cy="487"/>
              </a:xfrm>
              <a:custGeom>
                <a:avLst/>
                <a:gdLst>
                  <a:gd name="T0" fmla="*/ 0 w 115"/>
                  <a:gd name="T1" fmla="*/ 106 h 205"/>
                  <a:gd name="T2" fmla="*/ 5 w 115"/>
                  <a:gd name="T3" fmla="*/ 128 h 205"/>
                  <a:gd name="T4" fmla="*/ 3 w 115"/>
                  <a:gd name="T5" fmla="*/ 141 h 205"/>
                  <a:gd name="T6" fmla="*/ 115 w 115"/>
                  <a:gd name="T7" fmla="*/ 205 h 205"/>
                  <a:gd name="T8" fmla="*/ 115 w 115"/>
                  <a:gd name="T9" fmla="*/ 1 h 205"/>
                  <a:gd name="T10" fmla="*/ 113 w 115"/>
                  <a:gd name="T11" fmla="*/ 0 h 205"/>
                  <a:gd name="T12" fmla="*/ 0 w 115"/>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5" h="205">
                    <a:moveTo>
                      <a:pt x="0" y="106"/>
                    </a:moveTo>
                    <a:cubicBezTo>
                      <a:pt x="3" y="113"/>
                      <a:pt x="5" y="120"/>
                      <a:pt x="5" y="128"/>
                    </a:cubicBezTo>
                    <a:cubicBezTo>
                      <a:pt x="5" y="132"/>
                      <a:pt x="4" y="137"/>
                      <a:pt x="3" y="141"/>
                    </a:cubicBezTo>
                    <a:cubicBezTo>
                      <a:pt x="115" y="205"/>
                      <a:pt x="115" y="205"/>
                      <a:pt x="115" y="205"/>
                    </a:cubicBezTo>
                    <a:cubicBezTo>
                      <a:pt x="115" y="1"/>
                      <a:pt x="115" y="1"/>
                      <a:pt x="115" y="1"/>
                    </a:cubicBezTo>
                    <a:cubicBezTo>
                      <a:pt x="115" y="1"/>
                      <a:pt x="114" y="1"/>
                      <a:pt x="113" y="0"/>
                    </a:cubicBezTo>
                    <a:lnTo>
                      <a:pt x="0" y="10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4" name="Freeform 7"/>
              <p:cNvSpPr>
                <a:spLocks noEditPoints="1"/>
              </p:cNvSpPr>
              <p:nvPr/>
            </p:nvSpPr>
            <p:spPr bwMode="auto">
              <a:xfrm>
                <a:off x="399" y="1105"/>
                <a:ext cx="1585" cy="1575"/>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3 h 664"/>
                  <a:gd name="T12" fmla="*/ 473 w 668"/>
                  <a:gd name="T13" fmla="*/ 417 h 664"/>
                  <a:gd name="T14" fmla="*/ 379 w 668"/>
                  <a:gd name="T15" fmla="*/ 478 h 664"/>
                  <a:gd name="T16" fmla="*/ 388 w 668"/>
                  <a:gd name="T17" fmla="*/ 509 h 664"/>
                  <a:gd name="T18" fmla="*/ 335 w 668"/>
                  <a:gd name="T19" fmla="*/ 563 h 664"/>
                  <a:gd name="T20" fmla="*/ 281 w 668"/>
                  <a:gd name="T21" fmla="*/ 509 h 664"/>
                  <a:gd name="T22" fmla="*/ 293 w 668"/>
                  <a:gd name="T23" fmla="*/ 477 h 664"/>
                  <a:gd name="T24" fmla="*/ 189 w 668"/>
                  <a:gd name="T25" fmla="*/ 418 h 664"/>
                  <a:gd name="T26" fmla="*/ 151 w 668"/>
                  <a:gd name="T27" fmla="*/ 433 h 664"/>
                  <a:gd name="T28" fmla="*/ 98 w 668"/>
                  <a:gd name="T29" fmla="*/ 380 h 664"/>
                  <a:gd name="T30" fmla="*/ 151 w 668"/>
                  <a:gd name="T31" fmla="*/ 326 h 664"/>
                  <a:gd name="T32" fmla="*/ 178 w 668"/>
                  <a:gd name="T33" fmla="*/ 334 h 664"/>
                  <a:gd name="T34" fmla="*/ 287 w 668"/>
                  <a:gd name="T35" fmla="*/ 232 h 664"/>
                  <a:gd name="T36" fmla="*/ 276 w 668"/>
                  <a:gd name="T37" fmla="*/ 198 h 664"/>
                  <a:gd name="T38" fmla="*/ 335 w 668"/>
                  <a:gd name="T39" fmla="*/ 139 h 664"/>
                  <a:gd name="T40" fmla="*/ 393 w 668"/>
                  <a:gd name="T41" fmla="*/ 198 h 664"/>
                  <a:gd name="T42" fmla="*/ 386 w 668"/>
                  <a:gd name="T43" fmla="*/ 227 h 664"/>
                  <a:gd name="T44" fmla="*/ 478 w 668"/>
                  <a:gd name="T45" fmla="*/ 339 h 664"/>
                  <a:gd name="T46" fmla="*/ 511 w 668"/>
                  <a:gd name="T47" fmla="*/ 326 h 664"/>
                  <a:gd name="T48" fmla="*/ 565 w 668"/>
                  <a:gd name="T49" fmla="*/ 380 h 664"/>
                  <a:gd name="T50" fmla="*/ 511 w 668"/>
                  <a:gd name="T51" fmla="*/ 43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3"/>
                    </a:moveTo>
                    <a:cubicBezTo>
                      <a:pt x="496" y="433"/>
                      <a:pt x="482" y="427"/>
                      <a:pt x="473" y="417"/>
                    </a:cubicBezTo>
                    <a:cubicBezTo>
                      <a:pt x="379" y="478"/>
                      <a:pt x="379" y="478"/>
                      <a:pt x="379" y="478"/>
                    </a:cubicBezTo>
                    <a:cubicBezTo>
                      <a:pt x="385" y="487"/>
                      <a:pt x="388" y="498"/>
                      <a:pt x="388" y="509"/>
                    </a:cubicBezTo>
                    <a:cubicBezTo>
                      <a:pt x="388" y="539"/>
                      <a:pt x="365" y="563"/>
                      <a:pt x="335" y="563"/>
                    </a:cubicBezTo>
                    <a:cubicBezTo>
                      <a:pt x="305" y="563"/>
                      <a:pt x="281" y="539"/>
                      <a:pt x="281" y="509"/>
                    </a:cubicBezTo>
                    <a:cubicBezTo>
                      <a:pt x="281" y="497"/>
                      <a:pt x="286" y="486"/>
                      <a:pt x="293" y="477"/>
                    </a:cubicBezTo>
                    <a:cubicBezTo>
                      <a:pt x="189" y="418"/>
                      <a:pt x="189" y="418"/>
                      <a:pt x="189" y="418"/>
                    </a:cubicBezTo>
                    <a:cubicBezTo>
                      <a:pt x="179" y="428"/>
                      <a:pt x="166" y="433"/>
                      <a:pt x="151" y="433"/>
                    </a:cubicBezTo>
                    <a:cubicBezTo>
                      <a:pt x="122" y="433"/>
                      <a:pt x="98" y="410"/>
                      <a:pt x="98" y="380"/>
                    </a:cubicBezTo>
                    <a:cubicBezTo>
                      <a:pt x="98" y="350"/>
                      <a:pt x="122" y="326"/>
                      <a:pt x="151" y="326"/>
                    </a:cubicBezTo>
                    <a:cubicBezTo>
                      <a:pt x="161" y="326"/>
                      <a:pt x="170" y="329"/>
                      <a:pt x="178" y="334"/>
                    </a:cubicBezTo>
                    <a:cubicBezTo>
                      <a:pt x="287" y="232"/>
                      <a:pt x="287" y="232"/>
                      <a:pt x="287" y="232"/>
                    </a:cubicBezTo>
                    <a:cubicBezTo>
                      <a:pt x="281" y="222"/>
                      <a:pt x="276" y="211"/>
                      <a:pt x="276" y="198"/>
                    </a:cubicBezTo>
                    <a:cubicBezTo>
                      <a:pt x="276" y="166"/>
                      <a:pt x="303" y="139"/>
                      <a:pt x="335" y="139"/>
                    </a:cubicBezTo>
                    <a:cubicBezTo>
                      <a:pt x="367" y="139"/>
                      <a:pt x="393" y="166"/>
                      <a:pt x="393" y="198"/>
                    </a:cubicBezTo>
                    <a:cubicBezTo>
                      <a:pt x="393" y="208"/>
                      <a:pt x="391" y="218"/>
                      <a:pt x="386" y="227"/>
                    </a:cubicBezTo>
                    <a:cubicBezTo>
                      <a:pt x="478" y="339"/>
                      <a:pt x="478" y="339"/>
                      <a:pt x="478" y="339"/>
                    </a:cubicBezTo>
                    <a:cubicBezTo>
                      <a:pt x="487" y="331"/>
                      <a:pt x="499" y="326"/>
                      <a:pt x="511" y="326"/>
                    </a:cubicBezTo>
                    <a:cubicBezTo>
                      <a:pt x="541" y="326"/>
                      <a:pt x="565" y="350"/>
                      <a:pt x="565" y="380"/>
                    </a:cubicBezTo>
                    <a:cubicBezTo>
                      <a:pt x="565" y="410"/>
                      <a:pt x="541" y="433"/>
                      <a:pt x="511" y="4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31" name="Group 130"/>
            <p:cNvGrpSpPr/>
            <p:nvPr/>
          </p:nvGrpSpPr>
          <p:grpSpPr>
            <a:xfrm>
              <a:off x="602418" y="4664783"/>
              <a:ext cx="437223" cy="506564"/>
              <a:chOff x="5394326" y="4936834"/>
              <a:chExt cx="720725" cy="835025"/>
            </a:xfrm>
            <a:solidFill>
              <a:schemeClr val="bg2"/>
            </a:solidFill>
          </p:grpSpPr>
          <p:sp>
            <p:nvSpPr>
              <p:cNvPr id="190"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1"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33" name="Freeform 6"/>
            <p:cNvSpPr>
              <a:spLocks noEditPoints="1"/>
            </p:cNvSpPr>
            <p:nvPr/>
          </p:nvSpPr>
          <p:spPr bwMode="auto">
            <a:xfrm>
              <a:off x="843675" y="3912646"/>
              <a:ext cx="379249" cy="461628"/>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sp>
          <p:nvSpPr>
            <p:cNvPr id="137" name="Freeform 19"/>
            <p:cNvSpPr>
              <a:spLocks noEditPoints="1"/>
            </p:cNvSpPr>
            <p:nvPr/>
          </p:nvSpPr>
          <p:spPr bwMode="auto">
            <a:xfrm>
              <a:off x="1457704" y="3614070"/>
              <a:ext cx="618522" cy="509371"/>
            </a:xfrm>
            <a:custGeom>
              <a:avLst/>
              <a:gdLst>
                <a:gd name="T0" fmla="*/ 243 w 292"/>
                <a:gd name="T1" fmla="*/ 0 h 240"/>
                <a:gd name="T2" fmla="*/ 49 w 292"/>
                <a:gd name="T3" fmla="*/ 0 h 240"/>
                <a:gd name="T4" fmla="*/ 34 w 292"/>
                <a:gd name="T5" fmla="*/ 15 h 240"/>
                <a:gd name="T6" fmla="*/ 34 w 292"/>
                <a:gd name="T7" fmla="*/ 145 h 240"/>
                <a:gd name="T8" fmla="*/ 49 w 292"/>
                <a:gd name="T9" fmla="*/ 160 h 240"/>
                <a:gd name="T10" fmla="*/ 243 w 292"/>
                <a:gd name="T11" fmla="*/ 160 h 240"/>
                <a:gd name="T12" fmla="*/ 258 w 292"/>
                <a:gd name="T13" fmla="*/ 145 h 240"/>
                <a:gd name="T14" fmla="*/ 258 w 292"/>
                <a:gd name="T15" fmla="*/ 15 h 240"/>
                <a:gd name="T16" fmla="*/ 243 w 292"/>
                <a:gd name="T17" fmla="*/ 0 h 240"/>
                <a:gd name="T18" fmla="*/ 244 w 292"/>
                <a:gd name="T19" fmla="*/ 148 h 240"/>
                <a:gd name="T20" fmla="*/ 48 w 292"/>
                <a:gd name="T21" fmla="*/ 148 h 240"/>
                <a:gd name="T22" fmla="*/ 48 w 292"/>
                <a:gd name="T23" fmla="*/ 12 h 240"/>
                <a:gd name="T24" fmla="*/ 244 w 292"/>
                <a:gd name="T25" fmla="*/ 12 h 240"/>
                <a:gd name="T26" fmla="*/ 244 w 292"/>
                <a:gd name="T27" fmla="*/ 148 h 240"/>
                <a:gd name="T28" fmla="*/ 287 w 292"/>
                <a:gd name="T29" fmla="*/ 225 h 240"/>
                <a:gd name="T30" fmla="*/ 260 w 292"/>
                <a:gd name="T31" fmla="*/ 179 h 240"/>
                <a:gd name="T32" fmla="*/ 245 w 292"/>
                <a:gd name="T33" fmla="*/ 164 h 240"/>
                <a:gd name="T34" fmla="*/ 47 w 292"/>
                <a:gd name="T35" fmla="*/ 164 h 240"/>
                <a:gd name="T36" fmla="*/ 32 w 292"/>
                <a:gd name="T37" fmla="*/ 179 h 240"/>
                <a:gd name="T38" fmla="*/ 5 w 292"/>
                <a:gd name="T39" fmla="*/ 225 h 240"/>
                <a:gd name="T40" fmla="*/ 11 w 292"/>
                <a:gd name="T41" fmla="*/ 240 h 240"/>
                <a:gd name="T42" fmla="*/ 282 w 292"/>
                <a:gd name="T43" fmla="*/ 240 h 240"/>
                <a:gd name="T44" fmla="*/ 287 w 292"/>
                <a:gd name="T45" fmla="*/ 225 h 240"/>
                <a:gd name="T46" fmla="*/ 108 w 292"/>
                <a:gd name="T47" fmla="*/ 233 h 240"/>
                <a:gd name="T48" fmla="*/ 114 w 292"/>
                <a:gd name="T49" fmla="*/ 213 h 240"/>
                <a:gd name="T50" fmla="*/ 178 w 292"/>
                <a:gd name="T51" fmla="*/ 213 h 240"/>
                <a:gd name="T52" fmla="*/ 184 w 292"/>
                <a:gd name="T53" fmla="*/ 233 h 240"/>
                <a:gd name="T54" fmla="*/ 108 w 292"/>
                <a:gd name="T55" fmla="*/ 233 h 240"/>
                <a:gd name="T56" fmla="*/ 26 w 292"/>
                <a:gd name="T57" fmla="*/ 208 h 240"/>
                <a:gd name="T58" fmla="*/ 47 w 292"/>
                <a:gd name="T59" fmla="*/ 168 h 240"/>
                <a:gd name="T60" fmla="*/ 244 w 292"/>
                <a:gd name="T61" fmla="*/ 168 h 240"/>
                <a:gd name="T62" fmla="*/ 266 w 292"/>
                <a:gd name="T63" fmla="*/ 208 h 240"/>
                <a:gd name="T64" fmla="*/ 26 w 292"/>
                <a:gd name="T65" fmla="*/ 20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 h="240">
                  <a:moveTo>
                    <a:pt x="243" y="0"/>
                  </a:moveTo>
                  <a:cubicBezTo>
                    <a:pt x="243" y="0"/>
                    <a:pt x="243" y="0"/>
                    <a:pt x="49" y="0"/>
                  </a:cubicBezTo>
                  <a:cubicBezTo>
                    <a:pt x="40" y="0"/>
                    <a:pt x="34" y="7"/>
                    <a:pt x="34" y="15"/>
                  </a:cubicBezTo>
                  <a:cubicBezTo>
                    <a:pt x="34" y="15"/>
                    <a:pt x="34" y="15"/>
                    <a:pt x="34" y="145"/>
                  </a:cubicBezTo>
                  <a:cubicBezTo>
                    <a:pt x="34" y="153"/>
                    <a:pt x="40" y="160"/>
                    <a:pt x="49" y="160"/>
                  </a:cubicBezTo>
                  <a:cubicBezTo>
                    <a:pt x="49" y="160"/>
                    <a:pt x="49" y="160"/>
                    <a:pt x="243" y="160"/>
                  </a:cubicBezTo>
                  <a:cubicBezTo>
                    <a:pt x="251" y="160"/>
                    <a:pt x="258" y="153"/>
                    <a:pt x="258" y="145"/>
                  </a:cubicBezTo>
                  <a:cubicBezTo>
                    <a:pt x="258" y="15"/>
                    <a:pt x="258" y="15"/>
                    <a:pt x="258" y="15"/>
                  </a:cubicBezTo>
                  <a:cubicBezTo>
                    <a:pt x="258" y="7"/>
                    <a:pt x="251" y="0"/>
                    <a:pt x="243" y="0"/>
                  </a:cubicBezTo>
                  <a:close/>
                  <a:moveTo>
                    <a:pt x="244" y="148"/>
                  </a:moveTo>
                  <a:cubicBezTo>
                    <a:pt x="48" y="148"/>
                    <a:pt x="48" y="148"/>
                    <a:pt x="48" y="148"/>
                  </a:cubicBezTo>
                  <a:cubicBezTo>
                    <a:pt x="48" y="12"/>
                    <a:pt x="48" y="12"/>
                    <a:pt x="48" y="12"/>
                  </a:cubicBezTo>
                  <a:cubicBezTo>
                    <a:pt x="244" y="12"/>
                    <a:pt x="244" y="12"/>
                    <a:pt x="244" y="12"/>
                  </a:cubicBezTo>
                  <a:lnTo>
                    <a:pt x="244" y="148"/>
                  </a:lnTo>
                  <a:close/>
                  <a:moveTo>
                    <a:pt x="287" y="225"/>
                  </a:moveTo>
                  <a:cubicBezTo>
                    <a:pt x="260" y="179"/>
                    <a:pt x="260" y="179"/>
                    <a:pt x="260" y="179"/>
                  </a:cubicBezTo>
                  <a:cubicBezTo>
                    <a:pt x="257" y="173"/>
                    <a:pt x="254" y="164"/>
                    <a:pt x="245" y="164"/>
                  </a:cubicBezTo>
                  <a:cubicBezTo>
                    <a:pt x="245" y="164"/>
                    <a:pt x="245" y="164"/>
                    <a:pt x="47" y="164"/>
                  </a:cubicBezTo>
                  <a:cubicBezTo>
                    <a:pt x="38" y="164"/>
                    <a:pt x="36" y="174"/>
                    <a:pt x="32" y="179"/>
                  </a:cubicBezTo>
                  <a:cubicBezTo>
                    <a:pt x="32" y="179"/>
                    <a:pt x="32" y="179"/>
                    <a:pt x="5" y="225"/>
                  </a:cubicBezTo>
                  <a:cubicBezTo>
                    <a:pt x="0" y="232"/>
                    <a:pt x="2" y="240"/>
                    <a:pt x="11" y="240"/>
                  </a:cubicBezTo>
                  <a:cubicBezTo>
                    <a:pt x="11" y="240"/>
                    <a:pt x="11" y="240"/>
                    <a:pt x="282" y="240"/>
                  </a:cubicBezTo>
                  <a:cubicBezTo>
                    <a:pt x="290" y="240"/>
                    <a:pt x="292" y="231"/>
                    <a:pt x="287" y="225"/>
                  </a:cubicBezTo>
                  <a:close/>
                  <a:moveTo>
                    <a:pt x="108" y="233"/>
                  </a:moveTo>
                  <a:cubicBezTo>
                    <a:pt x="114" y="213"/>
                    <a:pt x="114" y="213"/>
                    <a:pt x="114" y="213"/>
                  </a:cubicBezTo>
                  <a:cubicBezTo>
                    <a:pt x="178" y="213"/>
                    <a:pt x="178" y="213"/>
                    <a:pt x="178" y="213"/>
                  </a:cubicBezTo>
                  <a:cubicBezTo>
                    <a:pt x="184" y="233"/>
                    <a:pt x="184" y="233"/>
                    <a:pt x="184" y="233"/>
                  </a:cubicBezTo>
                  <a:lnTo>
                    <a:pt x="108" y="233"/>
                  </a:lnTo>
                  <a:close/>
                  <a:moveTo>
                    <a:pt x="26" y="208"/>
                  </a:moveTo>
                  <a:cubicBezTo>
                    <a:pt x="47" y="168"/>
                    <a:pt x="47" y="168"/>
                    <a:pt x="47" y="168"/>
                  </a:cubicBezTo>
                  <a:cubicBezTo>
                    <a:pt x="244" y="168"/>
                    <a:pt x="244" y="168"/>
                    <a:pt x="244" y="168"/>
                  </a:cubicBezTo>
                  <a:cubicBezTo>
                    <a:pt x="266" y="208"/>
                    <a:pt x="266" y="208"/>
                    <a:pt x="266" y="208"/>
                  </a:cubicBezTo>
                  <a:lnTo>
                    <a:pt x="26" y="208"/>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51" name="Group 150"/>
            <p:cNvGrpSpPr/>
            <p:nvPr/>
          </p:nvGrpSpPr>
          <p:grpSpPr>
            <a:xfrm>
              <a:off x="1094580" y="4167063"/>
              <a:ext cx="1269583" cy="1122073"/>
              <a:chOff x="1119447" y="2626822"/>
              <a:chExt cx="1310504" cy="1158240"/>
            </a:xfrm>
          </p:grpSpPr>
          <p:cxnSp>
            <p:nvCxnSpPr>
              <p:cNvPr id="182" name="Straight Connector 181"/>
              <p:cNvCxnSpPr/>
              <p:nvPr/>
            </p:nvCxnSpPr>
            <p:spPr>
              <a:xfrm>
                <a:off x="1119447" y="3619790"/>
                <a:ext cx="286035" cy="165272"/>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313411" y="2909455"/>
                <a:ext cx="365448" cy="543098"/>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811797" y="2626822"/>
                <a:ext cx="0" cy="714894"/>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flipH="1">
                <a:off x="1950863" y="2936786"/>
                <a:ext cx="342418" cy="510201"/>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flipH="1">
                <a:off x="2186813" y="3616910"/>
                <a:ext cx="243138" cy="149946"/>
              </a:xfrm>
              <a:prstGeom prst="line">
                <a:avLst/>
              </a:prstGeom>
              <a:ln w="19050">
                <a:solidFill>
                  <a:schemeClr val="bg2"/>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52" name="Freeform 5"/>
            <p:cNvSpPr>
              <a:spLocks noEditPoints="1"/>
            </p:cNvSpPr>
            <p:nvPr/>
          </p:nvSpPr>
          <p:spPr bwMode="auto">
            <a:xfrm>
              <a:off x="2336578" y="3846256"/>
              <a:ext cx="427200" cy="298443"/>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56" name="Group 155"/>
            <p:cNvGrpSpPr/>
            <p:nvPr/>
          </p:nvGrpSpPr>
          <p:grpSpPr>
            <a:xfrm>
              <a:off x="2181675" y="4144232"/>
              <a:ext cx="366037" cy="242717"/>
              <a:chOff x="3067050" y="1341438"/>
              <a:chExt cx="6219826" cy="4124325"/>
            </a:xfrm>
            <a:solidFill>
              <a:srgbClr val="969696"/>
            </a:solidFill>
          </p:grpSpPr>
          <p:sp>
            <p:nvSpPr>
              <p:cNvPr id="179"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80"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81"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57" name="Freeform 5"/>
            <p:cNvSpPr>
              <a:spLocks/>
            </p:cNvSpPr>
            <p:nvPr/>
          </p:nvSpPr>
          <p:spPr bwMode="auto">
            <a:xfrm>
              <a:off x="2429522" y="4684925"/>
              <a:ext cx="391806" cy="469969"/>
            </a:xfrm>
            <a:custGeom>
              <a:avLst/>
              <a:gdLst>
                <a:gd name="T0" fmla="*/ 721 w 721"/>
                <a:gd name="T1" fmla="*/ 793 h 863"/>
                <a:gd name="T2" fmla="*/ 679 w 721"/>
                <a:gd name="T3" fmla="*/ 804 h 863"/>
                <a:gd name="T4" fmla="*/ 472 w 721"/>
                <a:gd name="T5" fmla="*/ 861 h 863"/>
                <a:gd name="T6" fmla="*/ 456 w 721"/>
                <a:gd name="T7" fmla="*/ 861 h 863"/>
                <a:gd name="T8" fmla="*/ 16 w 721"/>
                <a:gd name="T9" fmla="*/ 698 h 863"/>
                <a:gd name="T10" fmla="*/ 12 w 721"/>
                <a:gd name="T11" fmla="*/ 695 h 863"/>
                <a:gd name="T12" fmla="*/ 463 w 721"/>
                <a:gd name="T13" fmla="*/ 757 h 863"/>
                <a:gd name="T14" fmla="*/ 464 w 721"/>
                <a:gd name="T15" fmla="*/ 136 h 863"/>
                <a:gd name="T16" fmla="*/ 463 w 721"/>
                <a:gd name="T17" fmla="*/ 136 h 863"/>
                <a:gd name="T18" fmla="*/ 462 w 721"/>
                <a:gd name="T19" fmla="*/ 136 h 863"/>
                <a:gd name="T20" fmla="*/ 458 w 721"/>
                <a:gd name="T21" fmla="*/ 136 h 863"/>
                <a:gd name="T22" fmla="*/ 159 w 721"/>
                <a:gd name="T23" fmla="*/ 207 h 863"/>
                <a:gd name="T24" fmla="*/ 158 w 721"/>
                <a:gd name="T25" fmla="*/ 220 h 863"/>
                <a:gd name="T26" fmla="*/ 158 w 721"/>
                <a:gd name="T27" fmla="*/ 475 h 863"/>
                <a:gd name="T28" fmla="*/ 158 w 721"/>
                <a:gd name="T29" fmla="*/ 622 h 863"/>
                <a:gd name="T30" fmla="*/ 150 w 721"/>
                <a:gd name="T31" fmla="*/ 634 h 863"/>
                <a:gd name="T32" fmla="*/ 8 w 721"/>
                <a:gd name="T33" fmla="*/ 689 h 863"/>
                <a:gd name="T34" fmla="*/ 3 w 721"/>
                <a:gd name="T35" fmla="*/ 691 h 863"/>
                <a:gd name="T36" fmla="*/ 2 w 721"/>
                <a:gd name="T37" fmla="*/ 173 h 863"/>
                <a:gd name="T38" fmla="*/ 38 w 721"/>
                <a:gd name="T39" fmla="*/ 159 h 863"/>
                <a:gd name="T40" fmla="*/ 456 w 721"/>
                <a:gd name="T41" fmla="*/ 2 h 863"/>
                <a:gd name="T42" fmla="*/ 473 w 721"/>
                <a:gd name="T43" fmla="*/ 2 h 863"/>
                <a:gd name="T44" fmla="*/ 712 w 721"/>
                <a:gd name="T45" fmla="*/ 71 h 863"/>
                <a:gd name="T46" fmla="*/ 721 w 721"/>
                <a:gd name="T47" fmla="*/ 74 h 863"/>
                <a:gd name="T48" fmla="*/ 721 w 721"/>
                <a:gd name="T49" fmla="*/ 79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1" h="863">
                  <a:moveTo>
                    <a:pt x="721" y="793"/>
                  </a:moveTo>
                  <a:cubicBezTo>
                    <a:pt x="706" y="796"/>
                    <a:pt x="693" y="800"/>
                    <a:pt x="679" y="804"/>
                  </a:cubicBezTo>
                  <a:cubicBezTo>
                    <a:pt x="610" y="823"/>
                    <a:pt x="541" y="842"/>
                    <a:pt x="472" y="861"/>
                  </a:cubicBezTo>
                  <a:cubicBezTo>
                    <a:pt x="466" y="863"/>
                    <a:pt x="462" y="863"/>
                    <a:pt x="456" y="861"/>
                  </a:cubicBezTo>
                  <a:cubicBezTo>
                    <a:pt x="310" y="806"/>
                    <a:pt x="163" y="752"/>
                    <a:pt x="16" y="698"/>
                  </a:cubicBezTo>
                  <a:cubicBezTo>
                    <a:pt x="15" y="697"/>
                    <a:pt x="13" y="697"/>
                    <a:pt x="12" y="695"/>
                  </a:cubicBezTo>
                  <a:cubicBezTo>
                    <a:pt x="162" y="715"/>
                    <a:pt x="313" y="736"/>
                    <a:pt x="463" y="757"/>
                  </a:cubicBezTo>
                  <a:cubicBezTo>
                    <a:pt x="465" y="749"/>
                    <a:pt x="466" y="151"/>
                    <a:pt x="464" y="136"/>
                  </a:cubicBezTo>
                  <a:cubicBezTo>
                    <a:pt x="464" y="136"/>
                    <a:pt x="463" y="136"/>
                    <a:pt x="463" y="136"/>
                  </a:cubicBezTo>
                  <a:cubicBezTo>
                    <a:pt x="463" y="136"/>
                    <a:pt x="463" y="136"/>
                    <a:pt x="462" y="136"/>
                  </a:cubicBezTo>
                  <a:cubicBezTo>
                    <a:pt x="461" y="136"/>
                    <a:pt x="460" y="135"/>
                    <a:pt x="458" y="136"/>
                  </a:cubicBezTo>
                  <a:cubicBezTo>
                    <a:pt x="359" y="160"/>
                    <a:pt x="259" y="183"/>
                    <a:pt x="159" y="207"/>
                  </a:cubicBezTo>
                  <a:cubicBezTo>
                    <a:pt x="158" y="212"/>
                    <a:pt x="158" y="216"/>
                    <a:pt x="158" y="220"/>
                  </a:cubicBezTo>
                  <a:cubicBezTo>
                    <a:pt x="158" y="305"/>
                    <a:pt x="158" y="390"/>
                    <a:pt x="158" y="475"/>
                  </a:cubicBezTo>
                  <a:cubicBezTo>
                    <a:pt x="158" y="524"/>
                    <a:pt x="158" y="573"/>
                    <a:pt x="158" y="622"/>
                  </a:cubicBezTo>
                  <a:cubicBezTo>
                    <a:pt x="158" y="630"/>
                    <a:pt x="158" y="630"/>
                    <a:pt x="150" y="634"/>
                  </a:cubicBezTo>
                  <a:cubicBezTo>
                    <a:pt x="103" y="652"/>
                    <a:pt x="55" y="671"/>
                    <a:pt x="8" y="689"/>
                  </a:cubicBezTo>
                  <a:cubicBezTo>
                    <a:pt x="6" y="690"/>
                    <a:pt x="4" y="690"/>
                    <a:pt x="3" y="691"/>
                  </a:cubicBezTo>
                  <a:cubicBezTo>
                    <a:pt x="0" y="684"/>
                    <a:pt x="0" y="186"/>
                    <a:pt x="2" y="173"/>
                  </a:cubicBezTo>
                  <a:cubicBezTo>
                    <a:pt x="14" y="169"/>
                    <a:pt x="26" y="164"/>
                    <a:pt x="38" y="159"/>
                  </a:cubicBezTo>
                  <a:cubicBezTo>
                    <a:pt x="177" y="107"/>
                    <a:pt x="317" y="55"/>
                    <a:pt x="456" y="2"/>
                  </a:cubicBezTo>
                  <a:cubicBezTo>
                    <a:pt x="462" y="0"/>
                    <a:pt x="467" y="0"/>
                    <a:pt x="473" y="2"/>
                  </a:cubicBezTo>
                  <a:cubicBezTo>
                    <a:pt x="552" y="25"/>
                    <a:pt x="632" y="48"/>
                    <a:pt x="712" y="71"/>
                  </a:cubicBezTo>
                  <a:cubicBezTo>
                    <a:pt x="715" y="72"/>
                    <a:pt x="717" y="73"/>
                    <a:pt x="721" y="74"/>
                  </a:cubicBezTo>
                  <a:cubicBezTo>
                    <a:pt x="721" y="313"/>
                    <a:pt x="721" y="552"/>
                    <a:pt x="721" y="79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 name="Group 4"/>
          <p:cNvGrpSpPr/>
          <p:nvPr/>
        </p:nvGrpSpPr>
        <p:grpSpPr>
          <a:xfrm>
            <a:off x="9760448" y="4286852"/>
            <a:ext cx="2363290" cy="1529158"/>
            <a:chOff x="9760448" y="4286852"/>
            <a:chExt cx="2363290" cy="1529158"/>
          </a:xfrm>
        </p:grpSpPr>
        <p:grpSp>
          <p:nvGrpSpPr>
            <p:cNvPr id="92" name="Group 91"/>
            <p:cNvGrpSpPr/>
            <p:nvPr/>
          </p:nvGrpSpPr>
          <p:grpSpPr>
            <a:xfrm>
              <a:off x="9760448" y="4286852"/>
              <a:ext cx="2108399" cy="1529158"/>
              <a:chOff x="8522423" y="4261452"/>
              <a:chExt cx="2108399" cy="1529158"/>
            </a:xfrm>
          </p:grpSpPr>
          <p:grpSp>
            <p:nvGrpSpPr>
              <p:cNvPr id="93" name="Group 92"/>
              <p:cNvGrpSpPr/>
              <p:nvPr/>
            </p:nvGrpSpPr>
            <p:grpSpPr>
              <a:xfrm>
                <a:off x="9085900" y="4261452"/>
                <a:ext cx="1368990" cy="1271601"/>
                <a:chOff x="6038380" y="5079391"/>
                <a:chExt cx="1362360" cy="1265443"/>
              </a:xfrm>
              <a:solidFill>
                <a:schemeClr val="accent1"/>
              </a:solidFill>
            </p:grpSpPr>
            <p:sp>
              <p:nvSpPr>
                <p:cNvPr id="95" name="Freeform 5"/>
                <p:cNvSpPr>
                  <a:spLocks noEditPoints="1"/>
                </p:cNvSpPr>
                <p:nvPr/>
              </p:nvSpPr>
              <p:spPr bwMode="auto">
                <a:xfrm>
                  <a:off x="6400916" y="5079391"/>
                  <a:ext cx="999824" cy="698479"/>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96" name="Group 95"/>
                <p:cNvGrpSpPr/>
                <p:nvPr/>
              </p:nvGrpSpPr>
              <p:grpSpPr>
                <a:xfrm>
                  <a:off x="6038380" y="5776778"/>
                  <a:ext cx="856676" cy="568056"/>
                  <a:chOff x="3067050" y="1341438"/>
                  <a:chExt cx="6219826" cy="4124325"/>
                </a:xfrm>
                <a:grpFill/>
              </p:grpSpPr>
              <p:sp>
                <p:nvSpPr>
                  <p:cNvPr id="97"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2"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4"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94" name="TextBox 93"/>
              <p:cNvSpPr txBox="1"/>
              <p:nvPr/>
            </p:nvSpPr>
            <p:spPr>
              <a:xfrm>
                <a:off x="8522423" y="5624411"/>
                <a:ext cx="2108399" cy="166199"/>
              </a:xfrm>
              <a:prstGeom prst="rect">
                <a:avLst/>
              </a:prstGeom>
              <a:noFill/>
            </p:spPr>
            <p:txBody>
              <a:bodyPr wrap="square" lIns="0" tIns="0" rIns="0" bIns="0" rtlCol="0">
                <a:spAutoFit/>
              </a:bodyPr>
              <a:lstStyle>
                <a:defPPr>
                  <a:defRPr lang="en-US"/>
                </a:defPPr>
                <a:lvl1pPr algn="ctr" defTabSz="1243038">
                  <a:lnSpc>
                    <a:spcPct val="90000"/>
                  </a:lnSpc>
                  <a:spcBef>
                    <a:spcPct val="20000"/>
                  </a:spcBef>
                  <a:buSzPct val="80000"/>
                  <a:defRPr sz="1200">
                    <a:gradFill>
                      <a:gsLst>
                        <a:gs pos="21429">
                          <a:schemeClr val="bg1">
                            <a:lumMod val="50000"/>
                          </a:schemeClr>
                        </a:gs>
                        <a:gs pos="42000">
                          <a:schemeClr val="bg1">
                            <a:lumMod val="50000"/>
                          </a:schemeClr>
                        </a:gs>
                      </a:gsLst>
                      <a:lin ang="5400000" scaled="0"/>
                    </a:gradFill>
                  </a:defRPr>
                </a:lvl1pPr>
              </a:lstStyle>
              <a:p>
                <a:r>
                  <a:rPr lang="en-US" dirty="0" smtClean="0">
                    <a:gradFill>
                      <a:gsLst>
                        <a:gs pos="21429">
                          <a:srgbClr val="002050"/>
                        </a:gs>
                        <a:gs pos="100000">
                          <a:srgbClr val="002050"/>
                        </a:gs>
                      </a:gsLst>
                      <a:lin ang="5400000" scaled="0"/>
                    </a:gradFill>
                  </a:rPr>
                  <a:t>Integrated custom apps</a:t>
                </a:r>
                <a:endParaRPr lang="en-US" dirty="0">
                  <a:gradFill>
                    <a:gsLst>
                      <a:gs pos="21429">
                        <a:srgbClr val="002050"/>
                      </a:gs>
                      <a:gs pos="100000">
                        <a:srgbClr val="002050"/>
                      </a:gs>
                    </a:gsLst>
                    <a:lin ang="5400000" scaled="0"/>
                  </a:gradFill>
                </a:endParaRPr>
              </a:p>
            </p:txBody>
          </p:sp>
        </p:grpSp>
        <p:sp>
          <p:nvSpPr>
            <p:cNvPr id="118" name="Freeform 17"/>
            <p:cNvSpPr>
              <a:spLocks noEditPoints="1"/>
            </p:cNvSpPr>
            <p:nvPr/>
          </p:nvSpPr>
          <p:spPr bwMode="auto">
            <a:xfrm>
              <a:off x="11146113" y="5013808"/>
              <a:ext cx="977625" cy="173791"/>
            </a:xfrm>
            <a:custGeom>
              <a:avLst/>
              <a:gdLst>
                <a:gd name="T0" fmla="*/ 319 w 1808"/>
                <a:gd name="T1" fmla="*/ 283 h 319"/>
                <a:gd name="T2" fmla="*/ 109 w 1808"/>
                <a:gd name="T3" fmla="*/ 195 h 319"/>
                <a:gd name="T4" fmla="*/ 3 w 1808"/>
                <a:gd name="T5" fmla="*/ 78 h 319"/>
                <a:gd name="T6" fmla="*/ 237 w 1808"/>
                <a:gd name="T7" fmla="*/ 2 h 319"/>
                <a:gd name="T8" fmla="*/ 239 w 1808"/>
                <a:gd name="T9" fmla="*/ 225 h 319"/>
                <a:gd name="T10" fmla="*/ 1807 w 1808"/>
                <a:gd name="T11" fmla="*/ 180 h 319"/>
                <a:gd name="T12" fmla="*/ 1571 w 1808"/>
                <a:gd name="T13" fmla="*/ 133 h 319"/>
                <a:gd name="T14" fmla="*/ 1593 w 1808"/>
                <a:gd name="T15" fmla="*/ 250 h 319"/>
                <a:gd name="T16" fmla="*/ 1569 w 1808"/>
                <a:gd name="T17" fmla="*/ 234 h 319"/>
                <a:gd name="T18" fmla="*/ 1543 w 1808"/>
                <a:gd name="T19" fmla="*/ 117 h 319"/>
                <a:gd name="T20" fmla="*/ 1568 w 1808"/>
                <a:gd name="T21" fmla="*/ 158 h 319"/>
                <a:gd name="T22" fmla="*/ 1553 w 1808"/>
                <a:gd name="T23" fmla="*/ 232 h 319"/>
                <a:gd name="T24" fmla="*/ 489 w 1808"/>
                <a:gd name="T25" fmla="*/ 255 h 319"/>
                <a:gd name="T26" fmla="*/ 555 w 1808"/>
                <a:gd name="T27" fmla="*/ 66 h 319"/>
                <a:gd name="T28" fmla="*/ 441 w 1808"/>
                <a:gd name="T29" fmla="*/ 66 h 319"/>
                <a:gd name="T30" fmla="*/ 1118 w 1808"/>
                <a:gd name="T31" fmla="*/ 249 h 319"/>
                <a:gd name="T32" fmla="*/ 1185 w 1808"/>
                <a:gd name="T33" fmla="*/ 156 h 319"/>
                <a:gd name="T34" fmla="*/ 1164 w 1808"/>
                <a:gd name="T35" fmla="*/ 82 h 319"/>
                <a:gd name="T36" fmla="*/ 1215 w 1808"/>
                <a:gd name="T37" fmla="*/ 67 h 319"/>
                <a:gd name="T38" fmla="*/ 1147 w 1808"/>
                <a:gd name="T39" fmla="*/ 159 h 319"/>
                <a:gd name="T40" fmla="*/ 1137 w 1808"/>
                <a:gd name="T41" fmla="*/ 233 h 319"/>
                <a:gd name="T42" fmla="*/ 912 w 1808"/>
                <a:gd name="T43" fmla="*/ 255 h 319"/>
                <a:gd name="T44" fmla="*/ 972 w 1808"/>
                <a:gd name="T45" fmla="*/ 169 h 319"/>
                <a:gd name="T46" fmla="*/ 901 w 1808"/>
                <a:gd name="T47" fmla="*/ 148 h 319"/>
                <a:gd name="T48" fmla="*/ 994 w 1808"/>
                <a:gd name="T49" fmla="*/ 147 h 319"/>
                <a:gd name="T50" fmla="*/ 976 w 1808"/>
                <a:gd name="T51" fmla="*/ 255 h 319"/>
                <a:gd name="T52" fmla="*/ 972 w 1808"/>
                <a:gd name="T53" fmla="*/ 186 h 319"/>
                <a:gd name="T54" fmla="*/ 971 w 1808"/>
                <a:gd name="T55" fmla="*/ 217 h 319"/>
                <a:gd name="T56" fmla="*/ 1717 w 1808"/>
                <a:gd name="T57" fmla="*/ 255 h 319"/>
                <a:gd name="T58" fmla="*/ 1807 w 1808"/>
                <a:gd name="T59" fmla="*/ 180 h 319"/>
                <a:gd name="T60" fmla="*/ 1785 w 1808"/>
                <a:gd name="T61" fmla="*/ 194 h 319"/>
                <a:gd name="T62" fmla="*/ 1421 w 1808"/>
                <a:gd name="T63" fmla="*/ 238 h 319"/>
                <a:gd name="T64" fmla="*/ 1443 w 1808"/>
                <a:gd name="T65" fmla="*/ 122 h 319"/>
                <a:gd name="T66" fmla="*/ 1421 w 1808"/>
                <a:gd name="T67" fmla="*/ 196 h 319"/>
                <a:gd name="T68" fmla="*/ 1351 w 1808"/>
                <a:gd name="T69" fmla="*/ 120 h 319"/>
                <a:gd name="T70" fmla="*/ 1334 w 1808"/>
                <a:gd name="T71" fmla="*/ 229 h 319"/>
                <a:gd name="T72" fmla="*/ 842 w 1808"/>
                <a:gd name="T73" fmla="*/ 237 h 319"/>
                <a:gd name="T74" fmla="*/ 864 w 1808"/>
                <a:gd name="T75" fmla="*/ 120 h 319"/>
                <a:gd name="T76" fmla="*/ 841 w 1808"/>
                <a:gd name="T77" fmla="*/ 211 h 319"/>
                <a:gd name="T78" fmla="*/ 770 w 1808"/>
                <a:gd name="T79" fmla="*/ 118 h 319"/>
                <a:gd name="T80" fmla="*/ 804 w 1808"/>
                <a:gd name="T81" fmla="*/ 258 h 319"/>
                <a:gd name="T82" fmla="*/ 654 w 1808"/>
                <a:gd name="T83" fmla="*/ 253 h 319"/>
                <a:gd name="T84" fmla="*/ 678 w 1808"/>
                <a:gd name="T85" fmla="*/ 169 h 319"/>
                <a:gd name="T86" fmla="*/ 725 w 1808"/>
                <a:gd name="T87" fmla="*/ 140 h 319"/>
                <a:gd name="T88" fmla="*/ 680 w 1808"/>
                <a:gd name="T89" fmla="*/ 195 h 319"/>
                <a:gd name="T90" fmla="*/ 647 w 1808"/>
                <a:gd name="T91" fmla="*/ 227 h 319"/>
                <a:gd name="T92" fmla="*/ 1251 w 1808"/>
                <a:gd name="T93" fmla="*/ 118 h 319"/>
                <a:gd name="T94" fmla="*/ 1255 w 1808"/>
                <a:gd name="T95" fmla="*/ 141 h 319"/>
                <a:gd name="T96" fmla="*/ 1311 w 1808"/>
                <a:gd name="T97" fmla="*/ 252 h 319"/>
                <a:gd name="T98" fmla="*/ 1277 w 1808"/>
                <a:gd name="T99" fmla="*/ 141 h 319"/>
                <a:gd name="T100" fmla="*/ 1311 w 1808"/>
                <a:gd name="T101" fmla="*/ 121 h 319"/>
                <a:gd name="T102" fmla="*/ 1275 w 1808"/>
                <a:gd name="T103" fmla="*/ 78 h 319"/>
                <a:gd name="T104" fmla="*/ 1050 w 1808"/>
                <a:gd name="T105" fmla="*/ 57 h 319"/>
                <a:gd name="T106" fmla="*/ 1028 w 1808"/>
                <a:gd name="T107" fmla="*/ 154 h 319"/>
                <a:gd name="T108" fmla="*/ 620 w 1808"/>
                <a:gd name="T109" fmla="*/ 251 h 319"/>
                <a:gd name="T110" fmla="*/ 598 w 1808"/>
                <a:gd name="T111" fmla="*/ 123 h 319"/>
                <a:gd name="T112" fmla="*/ 1631 w 1808"/>
                <a:gd name="T113" fmla="*/ 118 h 319"/>
                <a:gd name="T114" fmla="*/ 1648 w 1808"/>
                <a:gd name="T115" fmla="*/ 253 h 319"/>
                <a:gd name="T116" fmla="*/ 595 w 1808"/>
                <a:gd name="T117" fmla="*/ 74 h 319"/>
                <a:gd name="T118" fmla="*/ 1636 w 1808"/>
                <a:gd name="T119"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319">
                  <a:moveTo>
                    <a:pt x="241" y="0"/>
                  </a:moveTo>
                  <a:cubicBezTo>
                    <a:pt x="241" y="1"/>
                    <a:pt x="242" y="1"/>
                    <a:pt x="243" y="1"/>
                  </a:cubicBezTo>
                  <a:cubicBezTo>
                    <a:pt x="267" y="11"/>
                    <a:pt x="292" y="21"/>
                    <a:pt x="316" y="30"/>
                  </a:cubicBezTo>
                  <a:cubicBezTo>
                    <a:pt x="320" y="32"/>
                    <a:pt x="319" y="31"/>
                    <a:pt x="319" y="36"/>
                  </a:cubicBezTo>
                  <a:cubicBezTo>
                    <a:pt x="319" y="118"/>
                    <a:pt x="319" y="201"/>
                    <a:pt x="319" y="283"/>
                  </a:cubicBezTo>
                  <a:cubicBezTo>
                    <a:pt x="319" y="283"/>
                    <a:pt x="319" y="283"/>
                    <a:pt x="319" y="283"/>
                  </a:cubicBezTo>
                  <a:cubicBezTo>
                    <a:pt x="319" y="288"/>
                    <a:pt x="320" y="287"/>
                    <a:pt x="316" y="288"/>
                  </a:cubicBezTo>
                  <a:cubicBezTo>
                    <a:pt x="302" y="294"/>
                    <a:pt x="288" y="300"/>
                    <a:pt x="274" y="305"/>
                  </a:cubicBezTo>
                  <a:cubicBezTo>
                    <a:pt x="264" y="309"/>
                    <a:pt x="253" y="313"/>
                    <a:pt x="243" y="318"/>
                  </a:cubicBezTo>
                  <a:cubicBezTo>
                    <a:pt x="240" y="319"/>
                    <a:pt x="239" y="318"/>
                    <a:pt x="237" y="316"/>
                  </a:cubicBezTo>
                  <a:cubicBezTo>
                    <a:pt x="197" y="276"/>
                    <a:pt x="156" y="236"/>
                    <a:pt x="116" y="195"/>
                  </a:cubicBezTo>
                  <a:cubicBezTo>
                    <a:pt x="113" y="192"/>
                    <a:pt x="113" y="192"/>
                    <a:pt x="109" y="195"/>
                  </a:cubicBezTo>
                  <a:cubicBezTo>
                    <a:pt x="85" y="214"/>
                    <a:pt x="60" y="234"/>
                    <a:pt x="35" y="253"/>
                  </a:cubicBezTo>
                  <a:cubicBezTo>
                    <a:pt x="33" y="255"/>
                    <a:pt x="31" y="255"/>
                    <a:pt x="29" y="254"/>
                  </a:cubicBezTo>
                  <a:cubicBezTo>
                    <a:pt x="20" y="249"/>
                    <a:pt x="12" y="245"/>
                    <a:pt x="3" y="241"/>
                  </a:cubicBezTo>
                  <a:cubicBezTo>
                    <a:pt x="2" y="240"/>
                    <a:pt x="1" y="239"/>
                    <a:pt x="0" y="239"/>
                  </a:cubicBezTo>
                  <a:cubicBezTo>
                    <a:pt x="0" y="186"/>
                    <a:pt x="0" y="132"/>
                    <a:pt x="0" y="79"/>
                  </a:cubicBezTo>
                  <a:cubicBezTo>
                    <a:pt x="1" y="79"/>
                    <a:pt x="2" y="79"/>
                    <a:pt x="3" y="78"/>
                  </a:cubicBezTo>
                  <a:cubicBezTo>
                    <a:pt x="12" y="74"/>
                    <a:pt x="20" y="70"/>
                    <a:pt x="29" y="65"/>
                  </a:cubicBezTo>
                  <a:cubicBezTo>
                    <a:pt x="31" y="64"/>
                    <a:pt x="33" y="64"/>
                    <a:pt x="35" y="66"/>
                  </a:cubicBezTo>
                  <a:cubicBezTo>
                    <a:pt x="60" y="85"/>
                    <a:pt x="85" y="105"/>
                    <a:pt x="110" y="124"/>
                  </a:cubicBezTo>
                  <a:cubicBezTo>
                    <a:pt x="113" y="126"/>
                    <a:pt x="113" y="127"/>
                    <a:pt x="115" y="124"/>
                  </a:cubicBezTo>
                  <a:cubicBezTo>
                    <a:pt x="115" y="124"/>
                    <a:pt x="115" y="124"/>
                    <a:pt x="116" y="123"/>
                  </a:cubicBezTo>
                  <a:cubicBezTo>
                    <a:pt x="156" y="83"/>
                    <a:pt x="197" y="43"/>
                    <a:pt x="237" y="2"/>
                  </a:cubicBezTo>
                  <a:cubicBezTo>
                    <a:pt x="238" y="1"/>
                    <a:pt x="239" y="1"/>
                    <a:pt x="239" y="0"/>
                  </a:cubicBezTo>
                  <a:cubicBezTo>
                    <a:pt x="240" y="0"/>
                    <a:pt x="240" y="0"/>
                    <a:pt x="241" y="0"/>
                  </a:cubicBezTo>
                  <a:close/>
                  <a:moveTo>
                    <a:pt x="239" y="225"/>
                  </a:moveTo>
                  <a:cubicBezTo>
                    <a:pt x="239" y="181"/>
                    <a:pt x="239" y="138"/>
                    <a:pt x="239" y="94"/>
                  </a:cubicBezTo>
                  <a:cubicBezTo>
                    <a:pt x="211" y="116"/>
                    <a:pt x="183" y="138"/>
                    <a:pt x="155" y="159"/>
                  </a:cubicBezTo>
                  <a:cubicBezTo>
                    <a:pt x="183" y="181"/>
                    <a:pt x="211" y="203"/>
                    <a:pt x="239" y="225"/>
                  </a:cubicBezTo>
                  <a:close/>
                  <a:moveTo>
                    <a:pt x="32" y="206"/>
                  </a:moveTo>
                  <a:cubicBezTo>
                    <a:pt x="48" y="190"/>
                    <a:pt x="64" y="175"/>
                    <a:pt x="79" y="160"/>
                  </a:cubicBezTo>
                  <a:cubicBezTo>
                    <a:pt x="63" y="144"/>
                    <a:pt x="48" y="128"/>
                    <a:pt x="32" y="113"/>
                  </a:cubicBezTo>
                  <a:cubicBezTo>
                    <a:pt x="32" y="144"/>
                    <a:pt x="32" y="175"/>
                    <a:pt x="32" y="206"/>
                  </a:cubicBezTo>
                  <a:close/>
                  <a:moveTo>
                    <a:pt x="1808" y="180"/>
                  </a:moveTo>
                  <a:cubicBezTo>
                    <a:pt x="1808" y="180"/>
                    <a:pt x="1807" y="180"/>
                    <a:pt x="1807" y="180"/>
                  </a:cubicBezTo>
                  <a:cubicBezTo>
                    <a:pt x="1807" y="184"/>
                    <a:pt x="1807" y="188"/>
                    <a:pt x="1807" y="192"/>
                  </a:cubicBezTo>
                  <a:cubicBezTo>
                    <a:pt x="1807" y="192"/>
                    <a:pt x="1807" y="192"/>
                    <a:pt x="1807" y="192"/>
                  </a:cubicBezTo>
                  <a:cubicBezTo>
                    <a:pt x="1808" y="192"/>
                    <a:pt x="1808" y="192"/>
                    <a:pt x="1808" y="192"/>
                  </a:cubicBezTo>
                  <a:cubicBezTo>
                    <a:pt x="1808" y="188"/>
                    <a:pt x="1808" y="184"/>
                    <a:pt x="1808" y="180"/>
                  </a:cubicBezTo>
                  <a:close/>
                  <a:moveTo>
                    <a:pt x="1571" y="137"/>
                  </a:moveTo>
                  <a:cubicBezTo>
                    <a:pt x="1571" y="135"/>
                    <a:pt x="1571" y="134"/>
                    <a:pt x="1571" y="133"/>
                  </a:cubicBezTo>
                  <a:cubicBezTo>
                    <a:pt x="1571" y="107"/>
                    <a:pt x="1571" y="82"/>
                    <a:pt x="1571" y="57"/>
                  </a:cubicBezTo>
                  <a:cubicBezTo>
                    <a:pt x="1571" y="52"/>
                    <a:pt x="1570" y="53"/>
                    <a:pt x="1575" y="53"/>
                  </a:cubicBezTo>
                  <a:cubicBezTo>
                    <a:pt x="1580" y="53"/>
                    <a:pt x="1585" y="53"/>
                    <a:pt x="1590" y="53"/>
                  </a:cubicBezTo>
                  <a:cubicBezTo>
                    <a:pt x="1593" y="53"/>
                    <a:pt x="1593" y="53"/>
                    <a:pt x="1593" y="56"/>
                  </a:cubicBezTo>
                  <a:cubicBezTo>
                    <a:pt x="1593" y="56"/>
                    <a:pt x="1593" y="57"/>
                    <a:pt x="1593" y="57"/>
                  </a:cubicBezTo>
                  <a:cubicBezTo>
                    <a:pt x="1593" y="122"/>
                    <a:pt x="1593" y="186"/>
                    <a:pt x="1593" y="250"/>
                  </a:cubicBezTo>
                  <a:cubicBezTo>
                    <a:pt x="1593" y="256"/>
                    <a:pt x="1594" y="255"/>
                    <a:pt x="1588" y="255"/>
                  </a:cubicBezTo>
                  <a:cubicBezTo>
                    <a:pt x="1583" y="255"/>
                    <a:pt x="1578" y="255"/>
                    <a:pt x="1573" y="255"/>
                  </a:cubicBezTo>
                  <a:cubicBezTo>
                    <a:pt x="1571" y="255"/>
                    <a:pt x="1571" y="255"/>
                    <a:pt x="1571" y="253"/>
                  </a:cubicBezTo>
                  <a:cubicBezTo>
                    <a:pt x="1571" y="247"/>
                    <a:pt x="1571" y="242"/>
                    <a:pt x="1571" y="236"/>
                  </a:cubicBezTo>
                  <a:cubicBezTo>
                    <a:pt x="1571" y="235"/>
                    <a:pt x="1571" y="234"/>
                    <a:pt x="1571" y="233"/>
                  </a:cubicBezTo>
                  <a:cubicBezTo>
                    <a:pt x="1570" y="233"/>
                    <a:pt x="1569" y="234"/>
                    <a:pt x="1569" y="234"/>
                  </a:cubicBezTo>
                  <a:cubicBezTo>
                    <a:pt x="1559" y="250"/>
                    <a:pt x="1544" y="258"/>
                    <a:pt x="1525" y="258"/>
                  </a:cubicBezTo>
                  <a:cubicBezTo>
                    <a:pt x="1510" y="259"/>
                    <a:pt x="1496" y="255"/>
                    <a:pt x="1485" y="243"/>
                  </a:cubicBezTo>
                  <a:cubicBezTo>
                    <a:pt x="1479" y="237"/>
                    <a:pt x="1474" y="229"/>
                    <a:pt x="1471" y="220"/>
                  </a:cubicBezTo>
                  <a:cubicBezTo>
                    <a:pt x="1464" y="197"/>
                    <a:pt x="1465" y="174"/>
                    <a:pt x="1474" y="152"/>
                  </a:cubicBezTo>
                  <a:cubicBezTo>
                    <a:pt x="1480" y="137"/>
                    <a:pt x="1491" y="125"/>
                    <a:pt x="1506" y="119"/>
                  </a:cubicBezTo>
                  <a:cubicBezTo>
                    <a:pt x="1518" y="114"/>
                    <a:pt x="1531" y="114"/>
                    <a:pt x="1543" y="117"/>
                  </a:cubicBezTo>
                  <a:cubicBezTo>
                    <a:pt x="1554" y="119"/>
                    <a:pt x="1562" y="125"/>
                    <a:pt x="1568" y="134"/>
                  </a:cubicBezTo>
                  <a:cubicBezTo>
                    <a:pt x="1569" y="135"/>
                    <a:pt x="1570" y="135"/>
                    <a:pt x="1570" y="136"/>
                  </a:cubicBezTo>
                  <a:cubicBezTo>
                    <a:pt x="1570" y="136"/>
                    <a:pt x="1570" y="136"/>
                    <a:pt x="1571" y="137"/>
                  </a:cubicBezTo>
                  <a:close/>
                  <a:moveTo>
                    <a:pt x="1571" y="184"/>
                  </a:moveTo>
                  <a:cubicBezTo>
                    <a:pt x="1571" y="180"/>
                    <a:pt x="1571" y="176"/>
                    <a:pt x="1571" y="172"/>
                  </a:cubicBezTo>
                  <a:cubicBezTo>
                    <a:pt x="1571" y="167"/>
                    <a:pt x="1570" y="163"/>
                    <a:pt x="1568" y="158"/>
                  </a:cubicBezTo>
                  <a:cubicBezTo>
                    <a:pt x="1562" y="144"/>
                    <a:pt x="1552" y="135"/>
                    <a:pt x="1536" y="134"/>
                  </a:cubicBezTo>
                  <a:cubicBezTo>
                    <a:pt x="1520" y="132"/>
                    <a:pt x="1508" y="138"/>
                    <a:pt x="1499" y="152"/>
                  </a:cubicBezTo>
                  <a:cubicBezTo>
                    <a:pt x="1496" y="155"/>
                    <a:pt x="1494" y="159"/>
                    <a:pt x="1493" y="163"/>
                  </a:cubicBezTo>
                  <a:cubicBezTo>
                    <a:pt x="1489" y="175"/>
                    <a:pt x="1489" y="186"/>
                    <a:pt x="1490" y="198"/>
                  </a:cubicBezTo>
                  <a:cubicBezTo>
                    <a:pt x="1490" y="205"/>
                    <a:pt x="1492" y="212"/>
                    <a:pt x="1495" y="218"/>
                  </a:cubicBezTo>
                  <a:cubicBezTo>
                    <a:pt x="1508" y="244"/>
                    <a:pt x="1538" y="244"/>
                    <a:pt x="1553" y="232"/>
                  </a:cubicBezTo>
                  <a:cubicBezTo>
                    <a:pt x="1563" y="224"/>
                    <a:pt x="1568" y="214"/>
                    <a:pt x="1570" y="202"/>
                  </a:cubicBezTo>
                  <a:cubicBezTo>
                    <a:pt x="1571" y="196"/>
                    <a:pt x="1571" y="190"/>
                    <a:pt x="1571" y="184"/>
                  </a:cubicBezTo>
                  <a:close/>
                  <a:moveTo>
                    <a:pt x="417" y="67"/>
                  </a:moveTo>
                  <a:cubicBezTo>
                    <a:pt x="431" y="107"/>
                    <a:pt x="446" y="146"/>
                    <a:pt x="460" y="186"/>
                  </a:cubicBezTo>
                  <a:cubicBezTo>
                    <a:pt x="468" y="208"/>
                    <a:pt x="476" y="230"/>
                    <a:pt x="484" y="252"/>
                  </a:cubicBezTo>
                  <a:cubicBezTo>
                    <a:pt x="485" y="255"/>
                    <a:pt x="485" y="255"/>
                    <a:pt x="489" y="255"/>
                  </a:cubicBezTo>
                  <a:cubicBezTo>
                    <a:pt x="494" y="255"/>
                    <a:pt x="500" y="255"/>
                    <a:pt x="506" y="255"/>
                  </a:cubicBezTo>
                  <a:cubicBezTo>
                    <a:pt x="511" y="255"/>
                    <a:pt x="509" y="256"/>
                    <a:pt x="511" y="251"/>
                  </a:cubicBezTo>
                  <a:cubicBezTo>
                    <a:pt x="534" y="190"/>
                    <a:pt x="557" y="128"/>
                    <a:pt x="579" y="67"/>
                  </a:cubicBezTo>
                  <a:cubicBezTo>
                    <a:pt x="580" y="66"/>
                    <a:pt x="580" y="65"/>
                    <a:pt x="580" y="64"/>
                  </a:cubicBezTo>
                  <a:cubicBezTo>
                    <a:pt x="573" y="64"/>
                    <a:pt x="566" y="64"/>
                    <a:pt x="559" y="63"/>
                  </a:cubicBezTo>
                  <a:cubicBezTo>
                    <a:pt x="557" y="63"/>
                    <a:pt x="556" y="64"/>
                    <a:pt x="555" y="66"/>
                  </a:cubicBezTo>
                  <a:cubicBezTo>
                    <a:pt x="553" y="73"/>
                    <a:pt x="550" y="81"/>
                    <a:pt x="547" y="88"/>
                  </a:cubicBezTo>
                  <a:cubicBezTo>
                    <a:pt x="531" y="133"/>
                    <a:pt x="515" y="178"/>
                    <a:pt x="499" y="223"/>
                  </a:cubicBezTo>
                  <a:cubicBezTo>
                    <a:pt x="499" y="224"/>
                    <a:pt x="499" y="226"/>
                    <a:pt x="497" y="226"/>
                  </a:cubicBezTo>
                  <a:cubicBezTo>
                    <a:pt x="497" y="225"/>
                    <a:pt x="497" y="225"/>
                    <a:pt x="496" y="224"/>
                  </a:cubicBezTo>
                  <a:cubicBezTo>
                    <a:pt x="484" y="188"/>
                    <a:pt x="471" y="152"/>
                    <a:pt x="459" y="116"/>
                  </a:cubicBezTo>
                  <a:cubicBezTo>
                    <a:pt x="453" y="100"/>
                    <a:pt x="447" y="83"/>
                    <a:pt x="441" y="66"/>
                  </a:cubicBezTo>
                  <a:cubicBezTo>
                    <a:pt x="441" y="64"/>
                    <a:pt x="440" y="63"/>
                    <a:pt x="438" y="63"/>
                  </a:cubicBezTo>
                  <a:cubicBezTo>
                    <a:pt x="434" y="64"/>
                    <a:pt x="429" y="64"/>
                    <a:pt x="425" y="64"/>
                  </a:cubicBezTo>
                  <a:cubicBezTo>
                    <a:pt x="422" y="64"/>
                    <a:pt x="419" y="64"/>
                    <a:pt x="416" y="64"/>
                  </a:cubicBezTo>
                  <a:cubicBezTo>
                    <a:pt x="416" y="65"/>
                    <a:pt x="416" y="66"/>
                    <a:pt x="417" y="67"/>
                  </a:cubicBezTo>
                  <a:close/>
                  <a:moveTo>
                    <a:pt x="1117" y="246"/>
                  </a:moveTo>
                  <a:cubicBezTo>
                    <a:pt x="1117" y="247"/>
                    <a:pt x="1117" y="248"/>
                    <a:pt x="1118" y="249"/>
                  </a:cubicBezTo>
                  <a:cubicBezTo>
                    <a:pt x="1120" y="249"/>
                    <a:pt x="1121" y="250"/>
                    <a:pt x="1122" y="251"/>
                  </a:cubicBezTo>
                  <a:cubicBezTo>
                    <a:pt x="1129" y="253"/>
                    <a:pt x="1136" y="255"/>
                    <a:pt x="1143" y="257"/>
                  </a:cubicBezTo>
                  <a:cubicBezTo>
                    <a:pt x="1159" y="260"/>
                    <a:pt x="1175" y="259"/>
                    <a:pt x="1191" y="253"/>
                  </a:cubicBezTo>
                  <a:cubicBezTo>
                    <a:pt x="1216" y="244"/>
                    <a:pt x="1227" y="223"/>
                    <a:pt x="1222" y="197"/>
                  </a:cubicBezTo>
                  <a:cubicBezTo>
                    <a:pt x="1220" y="186"/>
                    <a:pt x="1214" y="177"/>
                    <a:pt x="1205" y="170"/>
                  </a:cubicBezTo>
                  <a:cubicBezTo>
                    <a:pt x="1199" y="164"/>
                    <a:pt x="1192" y="160"/>
                    <a:pt x="1185" y="156"/>
                  </a:cubicBezTo>
                  <a:cubicBezTo>
                    <a:pt x="1177" y="151"/>
                    <a:pt x="1169" y="147"/>
                    <a:pt x="1161" y="141"/>
                  </a:cubicBezTo>
                  <a:cubicBezTo>
                    <a:pt x="1157" y="139"/>
                    <a:pt x="1153" y="136"/>
                    <a:pt x="1149" y="132"/>
                  </a:cubicBezTo>
                  <a:cubicBezTo>
                    <a:pt x="1145" y="128"/>
                    <a:pt x="1142" y="123"/>
                    <a:pt x="1141" y="117"/>
                  </a:cubicBezTo>
                  <a:cubicBezTo>
                    <a:pt x="1140" y="113"/>
                    <a:pt x="1140" y="110"/>
                    <a:pt x="1141" y="106"/>
                  </a:cubicBezTo>
                  <a:cubicBezTo>
                    <a:pt x="1141" y="100"/>
                    <a:pt x="1143" y="95"/>
                    <a:pt x="1147" y="91"/>
                  </a:cubicBezTo>
                  <a:cubicBezTo>
                    <a:pt x="1152" y="86"/>
                    <a:pt x="1158" y="84"/>
                    <a:pt x="1164" y="82"/>
                  </a:cubicBezTo>
                  <a:cubicBezTo>
                    <a:pt x="1171" y="80"/>
                    <a:pt x="1178" y="80"/>
                    <a:pt x="1185" y="81"/>
                  </a:cubicBezTo>
                  <a:cubicBezTo>
                    <a:pt x="1195" y="82"/>
                    <a:pt x="1205" y="85"/>
                    <a:pt x="1213" y="91"/>
                  </a:cubicBezTo>
                  <a:cubicBezTo>
                    <a:pt x="1214" y="91"/>
                    <a:pt x="1214" y="92"/>
                    <a:pt x="1215" y="92"/>
                  </a:cubicBezTo>
                  <a:cubicBezTo>
                    <a:pt x="1215" y="91"/>
                    <a:pt x="1215" y="91"/>
                    <a:pt x="1215" y="91"/>
                  </a:cubicBezTo>
                  <a:cubicBezTo>
                    <a:pt x="1215" y="86"/>
                    <a:pt x="1215" y="81"/>
                    <a:pt x="1215" y="75"/>
                  </a:cubicBezTo>
                  <a:cubicBezTo>
                    <a:pt x="1215" y="73"/>
                    <a:pt x="1216" y="69"/>
                    <a:pt x="1215" y="67"/>
                  </a:cubicBezTo>
                  <a:cubicBezTo>
                    <a:pt x="1213" y="65"/>
                    <a:pt x="1209" y="64"/>
                    <a:pt x="1206" y="63"/>
                  </a:cubicBezTo>
                  <a:cubicBezTo>
                    <a:pt x="1196" y="61"/>
                    <a:pt x="1185" y="60"/>
                    <a:pt x="1175" y="60"/>
                  </a:cubicBezTo>
                  <a:cubicBezTo>
                    <a:pt x="1168" y="61"/>
                    <a:pt x="1161" y="61"/>
                    <a:pt x="1155" y="64"/>
                  </a:cubicBezTo>
                  <a:cubicBezTo>
                    <a:pt x="1134" y="70"/>
                    <a:pt x="1120" y="83"/>
                    <a:pt x="1117" y="106"/>
                  </a:cubicBezTo>
                  <a:cubicBezTo>
                    <a:pt x="1116" y="121"/>
                    <a:pt x="1119" y="134"/>
                    <a:pt x="1130" y="145"/>
                  </a:cubicBezTo>
                  <a:cubicBezTo>
                    <a:pt x="1135" y="150"/>
                    <a:pt x="1141" y="154"/>
                    <a:pt x="1147" y="159"/>
                  </a:cubicBezTo>
                  <a:cubicBezTo>
                    <a:pt x="1154" y="163"/>
                    <a:pt x="1162" y="167"/>
                    <a:pt x="1169" y="172"/>
                  </a:cubicBezTo>
                  <a:cubicBezTo>
                    <a:pt x="1176" y="176"/>
                    <a:pt x="1183" y="181"/>
                    <a:pt x="1189" y="186"/>
                  </a:cubicBezTo>
                  <a:cubicBezTo>
                    <a:pt x="1197" y="193"/>
                    <a:pt x="1200" y="202"/>
                    <a:pt x="1200" y="212"/>
                  </a:cubicBezTo>
                  <a:cubicBezTo>
                    <a:pt x="1199" y="224"/>
                    <a:pt x="1193" y="231"/>
                    <a:pt x="1182" y="235"/>
                  </a:cubicBezTo>
                  <a:cubicBezTo>
                    <a:pt x="1179" y="236"/>
                    <a:pt x="1177" y="237"/>
                    <a:pt x="1174" y="237"/>
                  </a:cubicBezTo>
                  <a:cubicBezTo>
                    <a:pt x="1161" y="239"/>
                    <a:pt x="1149" y="237"/>
                    <a:pt x="1137" y="233"/>
                  </a:cubicBezTo>
                  <a:cubicBezTo>
                    <a:pt x="1130" y="230"/>
                    <a:pt x="1123" y="226"/>
                    <a:pt x="1117" y="221"/>
                  </a:cubicBezTo>
                  <a:cubicBezTo>
                    <a:pt x="1117" y="230"/>
                    <a:pt x="1117" y="238"/>
                    <a:pt x="1117" y="246"/>
                  </a:cubicBezTo>
                  <a:close/>
                  <a:moveTo>
                    <a:pt x="973" y="234"/>
                  </a:moveTo>
                  <a:cubicBezTo>
                    <a:pt x="973" y="235"/>
                    <a:pt x="972" y="237"/>
                    <a:pt x="971" y="238"/>
                  </a:cubicBezTo>
                  <a:cubicBezTo>
                    <a:pt x="962" y="251"/>
                    <a:pt x="949" y="258"/>
                    <a:pt x="933" y="258"/>
                  </a:cubicBezTo>
                  <a:cubicBezTo>
                    <a:pt x="926" y="259"/>
                    <a:pt x="919" y="258"/>
                    <a:pt x="912" y="255"/>
                  </a:cubicBezTo>
                  <a:cubicBezTo>
                    <a:pt x="898" y="249"/>
                    <a:pt x="890" y="239"/>
                    <a:pt x="888" y="224"/>
                  </a:cubicBezTo>
                  <a:cubicBezTo>
                    <a:pt x="888" y="218"/>
                    <a:pt x="888" y="212"/>
                    <a:pt x="889" y="206"/>
                  </a:cubicBezTo>
                  <a:cubicBezTo>
                    <a:pt x="892" y="195"/>
                    <a:pt x="899" y="187"/>
                    <a:pt x="909" y="181"/>
                  </a:cubicBezTo>
                  <a:cubicBezTo>
                    <a:pt x="917" y="177"/>
                    <a:pt x="925" y="175"/>
                    <a:pt x="933" y="174"/>
                  </a:cubicBezTo>
                  <a:cubicBezTo>
                    <a:pt x="946" y="172"/>
                    <a:pt x="958" y="171"/>
                    <a:pt x="970" y="169"/>
                  </a:cubicBezTo>
                  <a:cubicBezTo>
                    <a:pt x="971" y="169"/>
                    <a:pt x="972" y="169"/>
                    <a:pt x="972" y="169"/>
                  </a:cubicBezTo>
                  <a:cubicBezTo>
                    <a:pt x="974" y="168"/>
                    <a:pt x="974" y="168"/>
                    <a:pt x="974" y="166"/>
                  </a:cubicBezTo>
                  <a:cubicBezTo>
                    <a:pt x="974" y="160"/>
                    <a:pt x="973" y="154"/>
                    <a:pt x="971" y="148"/>
                  </a:cubicBezTo>
                  <a:cubicBezTo>
                    <a:pt x="966" y="138"/>
                    <a:pt x="958" y="134"/>
                    <a:pt x="948" y="134"/>
                  </a:cubicBezTo>
                  <a:cubicBezTo>
                    <a:pt x="932" y="133"/>
                    <a:pt x="919" y="138"/>
                    <a:pt x="906" y="147"/>
                  </a:cubicBezTo>
                  <a:cubicBezTo>
                    <a:pt x="905" y="148"/>
                    <a:pt x="903" y="149"/>
                    <a:pt x="902" y="150"/>
                  </a:cubicBezTo>
                  <a:cubicBezTo>
                    <a:pt x="901" y="150"/>
                    <a:pt x="901" y="149"/>
                    <a:pt x="901" y="148"/>
                  </a:cubicBezTo>
                  <a:cubicBezTo>
                    <a:pt x="901" y="142"/>
                    <a:pt x="901" y="136"/>
                    <a:pt x="901" y="130"/>
                  </a:cubicBezTo>
                  <a:cubicBezTo>
                    <a:pt x="901" y="128"/>
                    <a:pt x="902" y="127"/>
                    <a:pt x="904" y="126"/>
                  </a:cubicBezTo>
                  <a:cubicBezTo>
                    <a:pt x="908" y="124"/>
                    <a:pt x="912" y="122"/>
                    <a:pt x="917" y="121"/>
                  </a:cubicBezTo>
                  <a:cubicBezTo>
                    <a:pt x="927" y="118"/>
                    <a:pt x="936" y="115"/>
                    <a:pt x="947" y="115"/>
                  </a:cubicBezTo>
                  <a:cubicBezTo>
                    <a:pt x="953" y="115"/>
                    <a:pt x="959" y="115"/>
                    <a:pt x="965" y="117"/>
                  </a:cubicBezTo>
                  <a:cubicBezTo>
                    <a:pt x="981" y="121"/>
                    <a:pt x="990" y="131"/>
                    <a:pt x="994" y="147"/>
                  </a:cubicBezTo>
                  <a:cubicBezTo>
                    <a:pt x="995" y="153"/>
                    <a:pt x="996" y="159"/>
                    <a:pt x="996" y="165"/>
                  </a:cubicBezTo>
                  <a:cubicBezTo>
                    <a:pt x="996" y="194"/>
                    <a:pt x="996" y="223"/>
                    <a:pt x="996" y="252"/>
                  </a:cubicBezTo>
                  <a:cubicBezTo>
                    <a:pt x="996" y="252"/>
                    <a:pt x="996" y="252"/>
                    <a:pt x="996" y="253"/>
                  </a:cubicBezTo>
                  <a:cubicBezTo>
                    <a:pt x="996" y="255"/>
                    <a:pt x="995" y="255"/>
                    <a:pt x="994" y="255"/>
                  </a:cubicBezTo>
                  <a:cubicBezTo>
                    <a:pt x="989" y="255"/>
                    <a:pt x="984" y="255"/>
                    <a:pt x="979" y="255"/>
                  </a:cubicBezTo>
                  <a:cubicBezTo>
                    <a:pt x="978" y="255"/>
                    <a:pt x="977" y="255"/>
                    <a:pt x="976" y="255"/>
                  </a:cubicBezTo>
                  <a:cubicBezTo>
                    <a:pt x="975" y="255"/>
                    <a:pt x="974" y="254"/>
                    <a:pt x="974" y="253"/>
                  </a:cubicBezTo>
                  <a:cubicBezTo>
                    <a:pt x="974" y="248"/>
                    <a:pt x="974" y="243"/>
                    <a:pt x="974" y="238"/>
                  </a:cubicBezTo>
                  <a:cubicBezTo>
                    <a:pt x="974" y="237"/>
                    <a:pt x="974" y="236"/>
                    <a:pt x="974" y="234"/>
                  </a:cubicBezTo>
                  <a:cubicBezTo>
                    <a:pt x="974" y="234"/>
                    <a:pt x="974" y="234"/>
                    <a:pt x="973" y="234"/>
                  </a:cubicBezTo>
                  <a:close/>
                  <a:moveTo>
                    <a:pt x="974" y="186"/>
                  </a:moveTo>
                  <a:cubicBezTo>
                    <a:pt x="973" y="186"/>
                    <a:pt x="973" y="186"/>
                    <a:pt x="972" y="186"/>
                  </a:cubicBezTo>
                  <a:cubicBezTo>
                    <a:pt x="960" y="188"/>
                    <a:pt x="949" y="189"/>
                    <a:pt x="937" y="191"/>
                  </a:cubicBezTo>
                  <a:cubicBezTo>
                    <a:pt x="931" y="192"/>
                    <a:pt x="926" y="194"/>
                    <a:pt x="921" y="196"/>
                  </a:cubicBezTo>
                  <a:cubicBezTo>
                    <a:pt x="916" y="199"/>
                    <a:pt x="913" y="203"/>
                    <a:pt x="911" y="209"/>
                  </a:cubicBezTo>
                  <a:cubicBezTo>
                    <a:pt x="911" y="210"/>
                    <a:pt x="911" y="212"/>
                    <a:pt x="911" y="213"/>
                  </a:cubicBezTo>
                  <a:cubicBezTo>
                    <a:pt x="909" y="226"/>
                    <a:pt x="916" y="236"/>
                    <a:pt x="928" y="239"/>
                  </a:cubicBezTo>
                  <a:cubicBezTo>
                    <a:pt x="946" y="243"/>
                    <a:pt x="963" y="235"/>
                    <a:pt x="971" y="217"/>
                  </a:cubicBezTo>
                  <a:cubicBezTo>
                    <a:pt x="975" y="207"/>
                    <a:pt x="974" y="197"/>
                    <a:pt x="974" y="186"/>
                  </a:cubicBezTo>
                  <a:close/>
                  <a:moveTo>
                    <a:pt x="1807" y="180"/>
                  </a:moveTo>
                  <a:cubicBezTo>
                    <a:pt x="1807" y="184"/>
                    <a:pt x="1807" y="188"/>
                    <a:pt x="1807" y="192"/>
                  </a:cubicBezTo>
                  <a:cubicBezTo>
                    <a:pt x="1807" y="200"/>
                    <a:pt x="1806" y="208"/>
                    <a:pt x="1803" y="216"/>
                  </a:cubicBezTo>
                  <a:cubicBezTo>
                    <a:pt x="1793" y="240"/>
                    <a:pt x="1776" y="255"/>
                    <a:pt x="1749" y="258"/>
                  </a:cubicBezTo>
                  <a:cubicBezTo>
                    <a:pt x="1738" y="259"/>
                    <a:pt x="1727" y="259"/>
                    <a:pt x="1717" y="255"/>
                  </a:cubicBezTo>
                  <a:cubicBezTo>
                    <a:pt x="1698" y="249"/>
                    <a:pt x="1685" y="237"/>
                    <a:pt x="1678" y="218"/>
                  </a:cubicBezTo>
                  <a:cubicBezTo>
                    <a:pt x="1670" y="196"/>
                    <a:pt x="1671" y="174"/>
                    <a:pt x="1680" y="153"/>
                  </a:cubicBezTo>
                  <a:cubicBezTo>
                    <a:pt x="1689" y="131"/>
                    <a:pt x="1706" y="119"/>
                    <a:pt x="1729" y="116"/>
                  </a:cubicBezTo>
                  <a:cubicBezTo>
                    <a:pt x="1740" y="114"/>
                    <a:pt x="1750" y="114"/>
                    <a:pt x="1761" y="117"/>
                  </a:cubicBezTo>
                  <a:cubicBezTo>
                    <a:pt x="1782" y="122"/>
                    <a:pt x="1796" y="135"/>
                    <a:pt x="1803" y="155"/>
                  </a:cubicBezTo>
                  <a:cubicBezTo>
                    <a:pt x="1806" y="164"/>
                    <a:pt x="1807" y="172"/>
                    <a:pt x="1807" y="180"/>
                  </a:cubicBezTo>
                  <a:close/>
                  <a:moveTo>
                    <a:pt x="1695" y="188"/>
                  </a:moveTo>
                  <a:cubicBezTo>
                    <a:pt x="1695" y="194"/>
                    <a:pt x="1696" y="201"/>
                    <a:pt x="1698" y="208"/>
                  </a:cubicBezTo>
                  <a:cubicBezTo>
                    <a:pt x="1702" y="221"/>
                    <a:pt x="1710" y="231"/>
                    <a:pt x="1722" y="236"/>
                  </a:cubicBezTo>
                  <a:cubicBezTo>
                    <a:pt x="1730" y="239"/>
                    <a:pt x="1738" y="240"/>
                    <a:pt x="1746" y="239"/>
                  </a:cubicBezTo>
                  <a:cubicBezTo>
                    <a:pt x="1763" y="238"/>
                    <a:pt x="1775" y="229"/>
                    <a:pt x="1781" y="213"/>
                  </a:cubicBezTo>
                  <a:cubicBezTo>
                    <a:pt x="1783" y="207"/>
                    <a:pt x="1784" y="201"/>
                    <a:pt x="1785" y="194"/>
                  </a:cubicBezTo>
                  <a:cubicBezTo>
                    <a:pt x="1785" y="182"/>
                    <a:pt x="1785" y="171"/>
                    <a:pt x="1781" y="160"/>
                  </a:cubicBezTo>
                  <a:cubicBezTo>
                    <a:pt x="1777" y="151"/>
                    <a:pt x="1771" y="143"/>
                    <a:pt x="1762" y="138"/>
                  </a:cubicBezTo>
                  <a:cubicBezTo>
                    <a:pt x="1754" y="134"/>
                    <a:pt x="1746" y="133"/>
                    <a:pt x="1737" y="134"/>
                  </a:cubicBezTo>
                  <a:cubicBezTo>
                    <a:pt x="1719" y="135"/>
                    <a:pt x="1705" y="145"/>
                    <a:pt x="1699" y="163"/>
                  </a:cubicBezTo>
                  <a:cubicBezTo>
                    <a:pt x="1696" y="171"/>
                    <a:pt x="1696" y="179"/>
                    <a:pt x="1695" y="188"/>
                  </a:cubicBezTo>
                  <a:close/>
                  <a:moveTo>
                    <a:pt x="1421" y="238"/>
                  </a:moveTo>
                  <a:cubicBezTo>
                    <a:pt x="1421" y="243"/>
                    <a:pt x="1421" y="248"/>
                    <a:pt x="1421" y="253"/>
                  </a:cubicBezTo>
                  <a:cubicBezTo>
                    <a:pt x="1421" y="254"/>
                    <a:pt x="1422" y="255"/>
                    <a:pt x="1423" y="255"/>
                  </a:cubicBezTo>
                  <a:cubicBezTo>
                    <a:pt x="1429" y="255"/>
                    <a:pt x="1435" y="255"/>
                    <a:pt x="1441" y="255"/>
                  </a:cubicBezTo>
                  <a:cubicBezTo>
                    <a:pt x="1442" y="255"/>
                    <a:pt x="1443" y="255"/>
                    <a:pt x="1443" y="253"/>
                  </a:cubicBezTo>
                  <a:cubicBezTo>
                    <a:pt x="1443" y="252"/>
                    <a:pt x="1443" y="252"/>
                    <a:pt x="1443" y="251"/>
                  </a:cubicBezTo>
                  <a:cubicBezTo>
                    <a:pt x="1443" y="208"/>
                    <a:pt x="1443" y="165"/>
                    <a:pt x="1443" y="122"/>
                  </a:cubicBezTo>
                  <a:cubicBezTo>
                    <a:pt x="1443" y="122"/>
                    <a:pt x="1443" y="121"/>
                    <a:pt x="1443" y="120"/>
                  </a:cubicBezTo>
                  <a:cubicBezTo>
                    <a:pt x="1443" y="119"/>
                    <a:pt x="1442" y="118"/>
                    <a:pt x="1441" y="118"/>
                  </a:cubicBezTo>
                  <a:cubicBezTo>
                    <a:pt x="1435" y="118"/>
                    <a:pt x="1429" y="118"/>
                    <a:pt x="1423" y="118"/>
                  </a:cubicBezTo>
                  <a:cubicBezTo>
                    <a:pt x="1421" y="118"/>
                    <a:pt x="1421" y="119"/>
                    <a:pt x="1421" y="121"/>
                  </a:cubicBezTo>
                  <a:cubicBezTo>
                    <a:pt x="1421" y="121"/>
                    <a:pt x="1421" y="122"/>
                    <a:pt x="1421" y="123"/>
                  </a:cubicBezTo>
                  <a:cubicBezTo>
                    <a:pt x="1421" y="147"/>
                    <a:pt x="1421" y="172"/>
                    <a:pt x="1421" y="196"/>
                  </a:cubicBezTo>
                  <a:cubicBezTo>
                    <a:pt x="1421" y="202"/>
                    <a:pt x="1420" y="208"/>
                    <a:pt x="1419" y="214"/>
                  </a:cubicBezTo>
                  <a:cubicBezTo>
                    <a:pt x="1412" y="233"/>
                    <a:pt x="1395" y="243"/>
                    <a:pt x="1375" y="239"/>
                  </a:cubicBezTo>
                  <a:cubicBezTo>
                    <a:pt x="1364" y="236"/>
                    <a:pt x="1357" y="228"/>
                    <a:pt x="1354" y="218"/>
                  </a:cubicBezTo>
                  <a:cubicBezTo>
                    <a:pt x="1352" y="210"/>
                    <a:pt x="1351" y="203"/>
                    <a:pt x="1351" y="196"/>
                  </a:cubicBezTo>
                  <a:cubicBezTo>
                    <a:pt x="1351" y="171"/>
                    <a:pt x="1351" y="147"/>
                    <a:pt x="1351" y="123"/>
                  </a:cubicBezTo>
                  <a:cubicBezTo>
                    <a:pt x="1351" y="122"/>
                    <a:pt x="1351" y="121"/>
                    <a:pt x="1351" y="120"/>
                  </a:cubicBezTo>
                  <a:cubicBezTo>
                    <a:pt x="1351" y="119"/>
                    <a:pt x="1351" y="118"/>
                    <a:pt x="1350" y="118"/>
                  </a:cubicBezTo>
                  <a:cubicBezTo>
                    <a:pt x="1344" y="118"/>
                    <a:pt x="1337" y="118"/>
                    <a:pt x="1331" y="118"/>
                  </a:cubicBezTo>
                  <a:cubicBezTo>
                    <a:pt x="1330" y="118"/>
                    <a:pt x="1329" y="119"/>
                    <a:pt x="1329" y="120"/>
                  </a:cubicBezTo>
                  <a:cubicBezTo>
                    <a:pt x="1329" y="120"/>
                    <a:pt x="1329" y="121"/>
                    <a:pt x="1329" y="122"/>
                  </a:cubicBezTo>
                  <a:cubicBezTo>
                    <a:pt x="1329" y="148"/>
                    <a:pt x="1329" y="174"/>
                    <a:pt x="1329" y="201"/>
                  </a:cubicBezTo>
                  <a:cubicBezTo>
                    <a:pt x="1329" y="210"/>
                    <a:pt x="1330" y="220"/>
                    <a:pt x="1334" y="229"/>
                  </a:cubicBezTo>
                  <a:cubicBezTo>
                    <a:pt x="1339" y="243"/>
                    <a:pt x="1348" y="253"/>
                    <a:pt x="1363" y="257"/>
                  </a:cubicBezTo>
                  <a:cubicBezTo>
                    <a:pt x="1370" y="258"/>
                    <a:pt x="1376" y="259"/>
                    <a:pt x="1383" y="258"/>
                  </a:cubicBezTo>
                  <a:cubicBezTo>
                    <a:pt x="1398" y="257"/>
                    <a:pt x="1409" y="251"/>
                    <a:pt x="1417" y="239"/>
                  </a:cubicBezTo>
                  <a:cubicBezTo>
                    <a:pt x="1418" y="237"/>
                    <a:pt x="1419" y="236"/>
                    <a:pt x="1421" y="234"/>
                  </a:cubicBezTo>
                  <a:cubicBezTo>
                    <a:pt x="1421" y="236"/>
                    <a:pt x="1421" y="237"/>
                    <a:pt x="1421" y="238"/>
                  </a:cubicBezTo>
                  <a:close/>
                  <a:moveTo>
                    <a:pt x="842" y="237"/>
                  </a:moveTo>
                  <a:cubicBezTo>
                    <a:pt x="842" y="242"/>
                    <a:pt x="842" y="247"/>
                    <a:pt x="842" y="251"/>
                  </a:cubicBezTo>
                  <a:cubicBezTo>
                    <a:pt x="842" y="255"/>
                    <a:pt x="842" y="255"/>
                    <a:pt x="846" y="255"/>
                  </a:cubicBezTo>
                  <a:cubicBezTo>
                    <a:pt x="851" y="255"/>
                    <a:pt x="856" y="255"/>
                    <a:pt x="860" y="255"/>
                  </a:cubicBezTo>
                  <a:cubicBezTo>
                    <a:pt x="865" y="255"/>
                    <a:pt x="864" y="256"/>
                    <a:pt x="864" y="251"/>
                  </a:cubicBezTo>
                  <a:cubicBezTo>
                    <a:pt x="864" y="208"/>
                    <a:pt x="864" y="165"/>
                    <a:pt x="864" y="123"/>
                  </a:cubicBezTo>
                  <a:cubicBezTo>
                    <a:pt x="864" y="122"/>
                    <a:pt x="864" y="121"/>
                    <a:pt x="864" y="120"/>
                  </a:cubicBezTo>
                  <a:cubicBezTo>
                    <a:pt x="865" y="119"/>
                    <a:pt x="864" y="118"/>
                    <a:pt x="862" y="118"/>
                  </a:cubicBezTo>
                  <a:cubicBezTo>
                    <a:pt x="857" y="118"/>
                    <a:pt x="851" y="118"/>
                    <a:pt x="846" y="118"/>
                  </a:cubicBezTo>
                  <a:cubicBezTo>
                    <a:pt x="842" y="118"/>
                    <a:pt x="842" y="118"/>
                    <a:pt x="842" y="122"/>
                  </a:cubicBezTo>
                  <a:cubicBezTo>
                    <a:pt x="842" y="122"/>
                    <a:pt x="842" y="123"/>
                    <a:pt x="842" y="123"/>
                  </a:cubicBezTo>
                  <a:cubicBezTo>
                    <a:pt x="842" y="147"/>
                    <a:pt x="842" y="171"/>
                    <a:pt x="842" y="195"/>
                  </a:cubicBezTo>
                  <a:cubicBezTo>
                    <a:pt x="842" y="200"/>
                    <a:pt x="842" y="206"/>
                    <a:pt x="841" y="211"/>
                  </a:cubicBezTo>
                  <a:cubicBezTo>
                    <a:pt x="836" y="232"/>
                    <a:pt x="818" y="243"/>
                    <a:pt x="797" y="239"/>
                  </a:cubicBezTo>
                  <a:cubicBezTo>
                    <a:pt x="787" y="236"/>
                    <a:pt x="780" y="230"/>
                    <a:pt x="776" y="220"/>
                  </a:cubicBezTo>
                  <a:cubicBezTo>
                    <a:pt x="774" y="213"/>
                    <a:pt x="773" y="205"/>
                    <a:pt x="773" y="198"/>
                  </a:cubicBezTo>
                  <a:cubicBezTo>
                    <a:pt x="773" y="182"/>
                    <a:pt x="773" y="166"/>
                    <a:pt x="773" y="151"/>
                  </a:cubicBezTo>
                  <a:cubicBezTo>
                    <a:pt x="773" y="141"/>
                    <a:pt x="773" y="131"/>
                    <a:pt x="773" y="121"/>
                  </a:cubicBezTo>
                  <a:cubicBezTo>
                    <a:pt x="773" y="118"/>
                    <a:pt x="773" y="118"/>
                    <a:pt x="770" y="118"/>
                  </a:cubicBezTo>
                  <a:cubicBezTo>
                    <a:pt x="765" y="118"/>
                    <a:pt x="759" y="118"/>
                    <a:pt x="754" y="118"/>
                  </a:cubicBezTo>
                  <a:cubicBezTo>
                    <a:pt x="751" y="118"/>
                    <a:pt x="751" y="118"/>
                    <a:pt x="751" y="121"/>
                  </a:cubicBezTo>
                  <a:cubicBezTo>
                    <a:pt x="751" y="149"/>
                    <a:pt x="751" y="176"/>
                    <a:pt x="751" y="203"/>
                  </a:cubicBezTo>
                  <a:cubicBezTo>
                    <a:pt x="751" y="212"/>
                    <a:pt x="752" y="221"/>
                    <a:pt x="755" y="229"/>
                  </a:cubicBezTo>
                  <a:cubicBezTo>
                    <a:pt x="760" y="245"/>
                    <a:pt x="771" y="254"/>
                    <a:pt x="787" y="257"/>
                  </a:cubicBezTo>
                  <a:cubicBezTo>
                    <a:pt x="793" y="258"/>
                    <a:pt x="798" y="259"/>
                    <a:pt x="804" y="258"/>
                  </a:cubicBezTo>
                  <a:cubicBezTo>
                    <a:pt x="818" y="257"/>
                    <a:pt x="829" y="252"/>
                    <a:pt x="837" y="241"/>
                  </a:cubicBezTo>
                  <a:cubicBezTo>
                    <a:pt x="839" y="239"/>
                    <a:pt x="840" y="237"/>
                    <a:pt x="842" y="234"/>
                  </a:cubicBezTo>
                  <a:cubicBezTo>
                    <a:pt x="843" y="235"/>
                    <a:pt x="842" y="236"/>
                    <a:pt x="842" y="237"/>
                  </a:cubicBezTo>
                  <a:close/>
                  <a:moveTo>
                    <a:pt x="647" y="248"/>
                  </a:moveTo>
                  <a:cubicBezTo>
                    <a:pt x="647" y="250"/>
                    <a:pt x="647" y="250"/>
                    <a:pt x="648" y="251"/>
                  </a:cubicBezTo>
                  <a:cubicBezTo>
                    <a:pt x="650" y="252"/>
                    <a:pt x="652" y="253"/>
                    <a:pt x="654" y="253"/>
                  </a:cubicBezTo>
                  <a:cubicBezTo>
                    <a:pt x="667" y="259"/>
                    <a:pt x="681" y="260"/>
                    <a:pt x="695" y="257"/>
                  </a:cubicBezTo>
                  <a:cubicBezTo>
                    <a:pt x="704" y="256"/>
                    <a:pt x="712" y="252"/>
                    <a:pt x="719" y="246"/>
                  </a:cubicBezTo>
                  <a:cubicBezTo>
                    <a:pt x="735" y="232"/>
                    <a:pt x="736" y="203"/>
                    <a:pt x="717" y="190"/>
                  </a:cubicBezTo>
                  <a:cubicBezTo>
                    <a:pt x="714" y="188"/>
                    <a:pt x="711" y="186"/>
                    <a:pt x="708" y="184"/>
                  </a:cubicBezTo>
                  <a:cubicBezTo>
                    <a:pt x="703" y="182"/>
                    <a:pt x="699" y="180"/>
                    <a:pt x="694" y="178"/>
                  </a:cubicBezTo>
                  <a:cubicBezTo>
                    <a:pt x="689" y="175"/>
                    <a:pt x="683" y="173"/>
                    <a:pt x="678" y="169"/>
                  </a:cubicBezTo>
                  <a:cubicBezTo>
                    <a:pt x="675" y="167"/>
                    <a:pt x="673" y="165"/>
                    <a:pt x="672" y="162"/>
                  </a:cubicBezTo>
                  <a:cubicBezTo>
                    <a:pt x="668" y="152"/>
                    <a:pt x="670" y="141"/>
                    <a:pt x="681" y="136"/>
                  </a:cubicBezTo>
                  <a:cubicBezTo>
                    <a:pt x="683" y="135"/>
                    <a:pt x="685" y="135"/>
                    <a:pt x="687" y="134"/>
                  </a:cubicBezTo>
                  <a:cubicBezTo>
                    <a:pt x="699" y="133"/>
                    <a:pt x="711" y="135"/>
                    <a:pt x="721" y="141"/>
                  </a:cubicBezTo>
                  <a:cubicBezTo>
                    <a:pt x="722" y="142"/>
                    <a:pt x="723" y="143"/>
                    <a:pt x="724" y="143"/>
                  </a:cubicBezTo>
                  <a:cubicBezTo>
                    <a:pt x="725" y="142"/>
                    <a:pt x="725" y="141"/>
                    <a:pt x="725" y="140"/>
                  </a:cubicBezTo>
                  <a:cubicBezTo>
                    <a:pt x="725" y="135"/>
                    <a:pt x="725" y="130"/>
                    <a:pt x="725" y="125"/>
                  </a:cubicBezTo>
                  <a:cubicBezTo>
                    <a:pt x="725" y="121"/>
                    <a:pt x="725" y="121"/>
                    <a:pt x="721" y="120"/>
                  </a:cubicBezTo>
                  <a:cubicBezTo>
                    <a:pt x="710" y="115"/>
                    <a:pt x="699" y="114"/>
                    <a:pt x="687" y="115"/>
                  </a:cubicBezTo>
                  <a:cubicBezTo>
                    <a:pt x="677" y="117"/>
                    <a:pt x="669" y="120"/>
                    <a:pt x="661" y="126"/>
                  </a:cubicBezTo>
                  <a:cubicBezTo>
                    <a:pt x="642" y="141"/>
                    <a:pt x="642" y="174"/>
                    <a:pt x="664" y="186"/>
                  </a:cubicBezTo>
                  <a:cubicBezTo>
                    <a:pt x="669" y="189"/>
                    <a:pt x="674" y="192"/>
                    <a:pt x="680" y="195"/>
                  </a:cubicBezTo>
                  <a:cubicBezTo>
                    <a:pt x="687" y="198"/>
                    <a:pt x="694" y="201"/>
                    <a:pt x="701" y="206"/>
                  </a:cubicBezTo>
                  <a:cubicBezTo>
                    <a:pt x="707" y="210"/>
                    <a:pt x="709" y="217"/>
                    <a:pt x="708" y="224"/>
                  </a:cubicBezTo>
                  <a:cubicBezTo>
                    <a:pt x="707" y="232"/>
                    <a:pt x="703" y="236"/>
                    <a:pt x="696" y="238"/>
                  </a:cubicBezTo>
                  <a:cubicBezTo>
                    <a:pt x="695" y="238"/>
                    <a:pt x="694" y="238"/>
                    <a:pt x="693" y="239"/>
                  </a:cubicBezTo>
                  <a:cubicBezTo>
                    <a:pt x="678" y="241"/>
                    <a:pt x="663" y="238"/>
                    <a:pt x="651" y="229"/>
                  </a:cubicBezTo>
                  <a:cubicBezTo>
                    <a:pt x="649" y="228"/>
                    <a:pt x="649" y="227"/>
                    <a:pt x="647" y="227"/>
                  </a:cubicBezTo>
                  <a:cubicBezTo>
                    <a:pt x="647" y="234"/>
                    <a:pt x="647" y="241"/>
                    <a:pt x="647" y="248"/>
                  </a:cubicBezTo>
                  <a:close/>
                  <a:moveTo>
                    <a:pt x="1275" y="78"/>
                  </a:moveTo>
                  <a:cubicBezTo>
                    <a:pt x="1269" y="80"/>
                    <a:pt x="1263" y="82"/>
                    <a:pt x="1257" y="84"/>
                  </a:cubicBezTo>
                  <a:cubicBezTo>
                    <a:pt x="1255" y="85"/>
                    <a:pt x="1255" y="86"/>
                    <a:pt x="1255" y="88"/>
                  </a:cubicBezTo>
                  <a:cubicBezTo>
                    <a:pt x="1255" y="97"/>
                    <a:pt x="1255" y="106"/>
                    <a:pt x="1255" y="114"/>
                  </a:cubicBezTo>
                  <a:cubicBezTo>
                    <a:pt x="1255" y="118"/>
                    <a:pt x="1255" y="118"/>
                    <a:pt x="1251" y="118"/>
                  </a:cubicBezTo>
                  <a:cubicBezTo>
                    <a:pt x="1245" y="118"/>
                    <a:pt x="1239" y="118"/>
                    <a:pt x="1234" y="118"/>
                  </a:cubicBezTo>
                  <a:cubicBezTo>
                    <a:pt x="1231" y="118"/>
                    <a:pt x="1231" y="118"/>
                    <a:pt x="1231" y="121"/>
                  </a:cubicBezTo>
                  <a:cubicBezTo>
                    <a:pt x="1231" y="125"/>
                    <a:pt x="1231" y="130"/>
                    <a:pt x="1231" y="134"/>
                  </a:cubicBezTo>
                  <a:cubicBezTo>
                    <a:pt x="1231" y="137"/>
                    <a:pt x="1231" y="137"/>
                    <a:pt x="1234" y="137"/>
                  </a:cubicBezTo>
                  <a:cubicBezTo>
                    <a:pt x="1239" y="137"/>
                    <a:pt x="1245" y="137"/>
                    <a:pt x="1250" y="137"/>
                  </a:cubicBezTo>
                  <a:cubicBezTo>
                    <a:pt x="1255" y="137"/>
                    <a:pt x="1255" y="137"/>
                    <a:pt x="1255" y="141"/>
                  </a:cubicBezTo>
                  <a:cubicBezTo>
                    <a:pt x="1255" y="167"/>
                    <a:pt x="1255" y="192"/>
                    <a:pt x="1255" y="217"/>
                  </a:cubicBezTo>
                  <a:cubicBezTo>
                    <a:pt x="1255" y="224"/>
                    <a:pt x="1255" y="230"/>
                    <a:pt x="1257" y="236"/>
                  </a:cubicBezTo>
                  <a:cubicBezTo>
                    <a:pt x="1260" y="245"/>
                    <a:pt x="1265" y="252"/>
                    <a:pt x="1274" y="255"/>
                  </a:cubicBezTo>
                  <a:cubicBezTo>
                    <a:pt x="1278" y="257"/>
                    <a:pt x="1282" y="258"/>
                    <a:pt x="1287" y="258"/>
                  </a:cubicBezTo>
                  <a:cubicBezTo>
                    <a:pt x="1294" y="259"/>
                    <a:pt x="1302" y="258"/>
                    <a:pt x="1309" y="255"/>
                  </a:cubicBezTo>
                  <a:cubicBezTo>
                    <a:pt x="1310" y="254"/>
                    <a:pt x="1311" y="253"/>
                    <a:pt x="1311" y="252"/>
                  </a:cubicBezTo>
                  <a:cubicBezTo>
                    <a:pt x="1311" y="249"/>
                    <a:pt x="1311" y="246"/>
                    <a:pt x="1311" y="243"/>
                  </a:cubicBezTo>
                  <a:cubicBezTo>
                    <a:pt x="1311" y="240"/>
                    <a:pt x="1311" y="238"/>
                    <a:pt x="1311" y="235"/>
                  </a:cubicBezTo>
                  <a:cubicBezTo>
                    <a:pt x="1303" y="239"/>
                    <a:pt x="1300" y="240"/>
                    <a:pt x="1294" y="239"/>
                  </a:cubicBezTo>
                  <a:cubicBezTo>
                    <a:pt x="1285" y="239"/>
                    <a:pt x="1280" y="234"/>
                    <a:pt x="1278" y="225"/>
                  </a:cubicBezTo>
                  <a:cubicBezTo>
                    <a:pt x="1277" y="221"/>
                    <a:pt x="1277" y="218"/>
                    <a:pt x="1277" y="214"/>
                  </a:cubicBezTo>
                  <a:cubicBezTo>
                    <a:pt x="1277" y="189"/>
                    <a:pt x="1277" y="165"/>
                    <a:pt x="1277" y="141"/>
                  </a:cubicBezTo>
                  <a:cubicBezTo>
                    <a:pt x="1277" y="140"/>
                    <a:pt x="1277" y="140"/>
                    <a:pt x="1277" y="139"/>
                  </a:cubicBezTo>
                  <a:cubicBezTo>
                    <a:pt x="1277" y="138"/>
                    <a:pt x="1277" y="137"/>
                    <a:pt x="1278" y="137"/>
                  </a:cubicBezTo>
                  <a:cubicBezTo>
                    <a:pt x="1279" y="137"/>
                    <a:pt x="1280" y="137"/>
                    <a:pt x="1281" y="137"/>
                  </a:cubicBezTo>
                  <a:cubicBezTo>
                    <a:pt x="1290" y="137"/>
                    <a:pt x="1299" y="137"/>
                    <a:pt x="1308" y="137"/>
                  </a:cubicBezTo>
                  <a:cubicBezTo>
                    <a:pt x="1311" y="137"/>
                    <a:pt x="1311" y="137"/>
                    <a:pt x="1311" y="134"/>
                  </a:cubicBezTo>
                  <a:cubicBezTo>
                    <a:pt x="1311" y="130"/>
                    <a:pt x="1311" y="125"/>
                    <a:pt x="1311" y="121"/>
                  </a:cubicBezTo>
                  <a:cubicBezTo>
                    <a:pt x="1311" y="118"/>
                    <a:pt x="1311" y="118"/>
                    <a:pt x="1308" y="118"/>
                  </a:cubicBezTo>
                  <a:cubicBezTo>
                    <a:pt x="1299" y="118"/>
                    <a:pt x="1291" y="118"/>
                    <a:pt x="1282" y="118"/>
                  </a:cubicBezTo>
                  <a:cubicBezTo>
                    <a:pt x="1277" y="118"/>
                    <a:pt x="1277" y="118"/>
                    <a:pt x="1277" y="113"/>
                  </a:cubicBezTo>
                  <a:cubicBezTo>
                    <a:pt x="1277" y="103"/>
                    <a:pt x="1277" y="92"/>
                    <a:pt x="1277" y="82"/>
                  </a:cubicBezTo>
                  <a:cubicBezTo>
                    <a:pt x="1277" y="81"/>
                    <a:pt x="1277" y="79"/>
                    <a:pt x="1276" y="78"/>
                  </a:cubicBezTo>
                  <a:cubicBezTo>
                    <a:pt x="1276" y="78"/>
                    <a:pt x="1275" y="78"/>
                    <a:pt x="1275" y="78"/>
                  </a:cubicBezTo>
                  <a:close/>
                  <a:moveTo>
                    <a:pt x="1028" y="192"/>
                  </a:moveTo>
                  <a:cubicBezTo>
                    <a:pt x="1028" y="212"/>
                    <a:pt x="1028" y="232"/>
                    <a:pt x="1028" y="252"/>
                  </a:cubicBezTo>
                  <a:cubicBezTo>
                    <a:pt x="1028" y="255"/>
                    <a:pt x="1028" y="255"/>
                    <a:pt x="1031" y="255"/>
                  </a:cubicBezTo>
                  <a:cubicBezTo>
                    <a:pt x="1036" y="255"/>
                    <a:pt x="1041" y="255"/>
                    <a:pt x="1046" y="255"/>
                  </a:cubicBezTo>
                  <a:cubicBezTo>
                    <a:pt x="1051" y="255"/>
                    <a:pt x="1050" y="256"/>
                    <a:pt x="1050" y="251"/>
                  </a:cubicBezTo>
                  <a:cubicBezTo>
                    <a:pt x="1050" y="186"/>
                    <a:pt x="1050" y="122"/>
                    <a:pt x="1050" y="57"/>
                  </a:cubicBezTo>
                  <a:cubicBezTo>
                    <a:pt x="1050" y="56"/>
                    <a:pt x="1050" y="55"/>
                    <a:pt x="1050" y="55"/>
                  </a:cubicBezTo>
                  <a:cubicBezTo>
                    <a:pt x="1050" y="53"/>
                    <a:pt x="1049" y="53"/>
                    <a:pt x="1048" y="53"/>
                  </a:cubicBezTo>
                  <a:cubicBezTo>
                    <a:pt x="1042" y="53"/>
                    <a:pt x="1036" y="53"/>
                    <a:pt x="1030" y="53"/>
                  </a:cubicBezTo>
                  <a:cubicBezTo>
                    <a:pt x="1029" y="53"/>
                    <a:pt x="1028" y="53"/>
                    <a:pt x="1028" y="55"/>
                  </a:cubicBezTo>
                  <a:cubicBezTo>
                    <a:pt x="1028" y="56"/>
                    <a:pt x="1028" y="57"/>
                    <a:pt x="1028" y="57"/>
                  </a:cubicBezTo>
                  <a:cubicBezTo>
                    <a:pt x="1028" y="89"/>
                    <a:pt x="1028" y="121"/>
                    <a:pt x="1028" y="154"/>
                  </a:cubicBezTo>
                  <a:cubicBezTo>
                    <a:pt x="1028" y="166"/>
                    <a:pt x="1028" y="179"/>
                    <a:pt x="1028" y="192"/>
                  </a:cubicBezTo>
                  <a:close/>
                  <a:moveTo>
                    <a:pt x="598" y="210"/>
                  </a:moveTo>
                  <a:cubicBezTo>
                    <a:pt x="598" y="224"/>
                    <a:pt x="598" y="238"/>
                    <a:pt x="598" y="252"/>
                  </a:cubicBezTo>
                  <a:cubicBezTo>
                    <a:pt x="598" y="255"/>
                    <a:pt x="598" y="255"/>
                    <a:pt x="601" y="255"/>
                  </a:cubicBezTo>
                  <a:cubicBezTo>
                    <a:pt x="606" y="255"/>
                    <a:pt x="611" y="255"/>
                    <a:pt x="616" y="255"/>
                  </a:cubicBezTo>
                  <a:cubicBezTo>
                    <a:pt x="621" y="255"/>
                    <a:pt x="620" y="256"/>
                    <a:pt x="620" y="251"/>
                  </a:cubicBezTo>
                  <a:cubicBezTo>
                    <a:pt x="620" y="208"/>
                    <a:pt x="620" y="165"/>
                    <a:pt x="620" y="123"/>
                  </a:cubicBezTo>
                  <a:cubicBezTo>
                    <a:pt x="620" y="122"/>
                    <a:pt x="620" y="121"/>
                    <a:pt x="620" y="120"/>
                  </a:cubicBezTo>
                  <a:cubicBezTo>
                    <a:pt x="620" y="119"/>
                    <a:pt x="619" y="118"/>
                    <a:pt x="618" y="118"/>
                  </a:cubicBezTo>
                  <a:cubicBezTo>
                    <a:pt x="612" y="118"/>
                    <a:pt x="606" y="118"/>
                    <a:pt x="600" y="118"/>
                  </a:cubicBezTo>
                  <a:cubicBezTo>
                    <a:pt x="599" y="118"/>
                    <a:pt x="598" y="119"/>
                    <a:pt x="598" y="121"/>
                  </a:cubicBezTo>
                  <a:cubicBezTo>
                    <a:pt x="598" y="121"/>
                    <a:pt x="598" y="122"/>
                    <a:pt x="598" y="123"/>
                  </a:cubicBezTo>
                  <a:cubicBezTo>
                    <a:pt x="598" y="144"/>
                    <a:pt x="598" y="165"/>
                    <a:pt x="598" y="186"/>
                  </a:cubicBezTo>
                  <a:cubicBezTo>
                    <a:pt x="598" y="194"/>
                    <a:pt x="598" y="202"/>
                    <a:pt x="598" y="210"/>
                  </a:cubicBezTo>
                  <a:close/>
                  <a:moveTo>
                    <a:pt x="1648" y="146"/>
                  </a:moveTo>
                  <a:cubicBezTo>
                    <a:pt x="1648" y="138"/>
                    <a:pt x="1648" y="130"/>
                    <a:pt x="1648" y="122"/>
                  </a:cubicBezTo>
                  <a:cubicBezTo>
                    <a:pt x="1648" y="118"/>
                    <a:pt x="1648" y="118"/>
                    <a:pt x="1644" y="118"/>
                  </a:cubicBezTo>
                  <a:cubicBezTo>
                    <a:pt x="1640" y="118"/>
                    <a:pt x="1635" y="118"/>
                    <a:pt x="1631" y="118"/>
                  </a:cubicBezTo>
                  <a:cubicBezTo>
                    <a:pt x="1626" y="118"/>
                    <a:pt x="1626" y="118"/>
                    <a:pt x="1626" y="123"/>
                  </a:cubicBezTo>
                  <a:cubicBezTo>
                    <a:pt x="1626" y="165"/>
                    <a:pt x="1626" y="208"/>
                    <a:pt x="1626" y="251"/>
                  </a:cubicBezTo>
                  <a:cubicBezTo>
                    <a:pt x="1626" y="251"/>
                    <a:pt x="1626" y="252"/>
                    <a:pt x="1626" y="253"/>
                  </a:cubicBezTo>
                  <a:cubicBezTo>
                    <a:pt x="1626" y="255"/>
                    <a:pt x="1627" y="255"/>
                    <a:pt x="1628" y="255"/>
                  </a:cubicBezTo>
                  <a:cubicBezTo>
                    <a:pt x="1634" y="255"/>
                    <a:pt x="1640" y="255"/>
                    <a:pt x="1646" y="255"/>
                  </a:cubicBezTo>
                  <a:cubicBezTo>
                    <a:pt x="1648" y="255"/>
                    <a:pt x="1648" y="254"/>
                    <a:pt x="1648" y="253"/>
                  </a:cubicBezTo>
                  <a:cubicBezTo>
                    <a:pt x="1648" y="252"/>
                    <a:pt x="1648" y="251"/>
                    <a:pt x="1648" y="250"/>
                  </a:cubicBezTo>
                  <a:cubicBezTo>
                    <a:pt x="1648" y="229"/>
                    <a:pt x="1648" y="208"/>
                    <a:pt x="1648" y="187"/>
                  </a:cubicBezTo>
                  <a:cubicBezTo>
                    <a:pt x="1648" y="173"/>
                    <a:pt x="1648" y="159"/>
                    <a:pt x="1648" y="146"/>
                  </a:cubicBezTo>
                  <a:close/>
                  <a:moveTo>
                    <a:pt x="624" y="73"/>
                  </a:moveTo>
                  <a:cubicBezTo>
                    <a:pt x="624" y="65"/>
                    <a:pt x="618" y="59"/>
                    <a:pt x="609" y="59"/>
                  </a:cubicBezTo>
                  <a:cubicBezTo>
                    <a:pt x="601" y="59"/>
                    <a:pt x="595" y="66"/>
                    <a:pt x="595" y="74"/>
                  </a:cubicBezTo>
                  <a:cubicBezTo>
                    <a:pt x="595" y="82"/>
                    <a:pt x="601" y="88"/>
                    <a:pt x="610" y="88"/>
                  </a:cubicBezTo>
                  <a:cubicBezTo>
                    <a:pt x="618" y="88"/>
                    <a:pt x="624" y="81"/>
                    <a:pt x="624" y="73"/>
                  </a:cubicBezTo>
                  <a:close/>
                  <a:moveTo>
                    <a:pt x="1651" y="74"/>
                  </a:moveTo>
                  <a:cubicBezTo>
                    <a:pt x="1651" y="66"/>
                    <a:pt x="1645" y="59"/>
                    <a:pt x="1636" y="59"/>
                  </a:cubicBezTo>
                  <a:cubicBezTo>
                    <a:pt x="1628" y="59"/>
                    <a:pt x="1622" y="65"/>
                    <a:pt x="1622" y="73"/>
                  </a:cubicBezTo>
                  <a:cubicBezTo>
                    <a:pt x="1622" y="82"/>
                    <a:pt x="1628" y="88"/>
                    <a:pt x="1636" y="88"/>
                  </a:cubicBezTo>
                  <a:cubicBezTo>
                    <a:pt x="1645" y="88"/>
                    <a:pt x="1651" y="82"/>
                    <a:pt x="1651" y="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 name="Group 3"/>
          <p:cNvGrpSpPr/>
          <p:nvPr/>
        </p:nvGrpSpPr>
        <p:grpSpPr>
          <a:xfrm>
            <a:off x="10323368" y="4285273"/>
            <a:ext cx="1800370" cy="1271601"/>
            <a:chOff x="10323368" y="4285273"/>
            <a:chExt cx="1800370" cy="1271601"/>
          </a:xfrm>
        </p:grpSpPr>
        <p:grpSp>
          <p:nvGrpSpPr>
            <p:cNvPr id="139" name="Group 138"/>
            <p:cNvGrpSpPr/>
            <p:nvPr/>
          </p:nvGrpSpPr>
          <p:grpSpPr>
            <a:xfrm>
              <a:off x="10323368" y="4285273"/>
              <a:ext cx="1368990" cy="1271601"/>
              <a:chOff x="6038380" y="5079391"/>
              <a:chExt cx="1362360" cy="1265443"/>
            </a:xfrm>
            <a:solidFill>
              <a:schemeClr val="tx1"/>
            </a:solidFill>
          </p:grpSpPr>
          <p:sp>
            <p:nvSpPr>
              <p:cNvPr id="140" name="Freeform 5"/>
              <p:cNvSpPr>
                <a:spLocks noEditPoints="1"/>
              </p:cNvSpPr>
              <p:nvPr/>
            </p:nvSpPr>
            <p:spPr bwMode="auto">
              <a:xfrm>
                <a:off x="6400916" y="5079391"/>
                <a:ext cx="999824" cy="698479"/>
              </a:xfrm>
              <a:custGeom>
                <a:avLst/>
                <a:gdLst>
                  <a:gd name="T0" fmla="*/ 891 w 1994"/>
                  <a:gd name="T1" fmla="*/ 343 h 1392"/>
                  <a:gd name="T2" fmla="*/ 1319 w 1994"/>
                  <a:gd name="T3" fmla="*/ 343 h 1392"/>
                  <a:gd name="T4" fmla="*/ 1349 w 1994"/>
                  <a:gd name="T5" fmla="*/ 308 h 1392"/>
                  <a:gd name="T6" fmla="*/ 1319 w 1994"/>
                  <a:gd name="T7" fmla="*/ 277 h 1392"/>
                  <a:gd name="T8" fmla="*/ 891 w 1994"/>
                  <a:gd name="T9" fmla="*/ 277 h 1392"/>
                  <a:gd name="T10" fmla="*/ 856 w 1994"/>
                  <a:gd name="T11" fmla="*/ 308 h 1392"/>
                  <a:gd name="T12" fmla="*/ 891 w 1994"/>
                  <a:gd name="T13" fmla="*/ 343 h 1392"/>
                  <a:gd name="T14" fmla="*/ 891 w 1994"/>
                  <a:gd name="T15" fmla="*/ 212 h 1392"/>
                  <a:gd name="T16" fmla="*/ 1747 w 1994"/>
                  <a:gd name="T17" fmla="*/ 212 h 1392"/>
                  <a:gd name="T18" fmla="*/ 1777 w 1994"/>
                  <a:gd name="T19" fmla="*/ 181 h 1392"/>
                  <a:gd name="T20" fmla="*/ 1747 w 1994"/>
                  <a:gd name="T21" fmla="*/ 146 h 1392"/>
                  <a:gd name="T22" fmla="*/ 891 w 1994"/>
                  <a:gd name="T23" fmla="*/ 146 h 1392"/>
                  <a:gd name="T24" fmla="*/ 856 w 1994"/>
                  <a:gd name="T25" fmla="*/ 181 h 1392"/>
                  <a:gd name="T26" fmla="*/ 891 w 1994"/>
                  <a:gd name="T27" fmla="*/ 212 h 1392"/>
                  <a:gd name="T28" fmla="*/ 1964 w 1994"/>
                  <a:gd name="T29" fmla="*/ 0 h 1392"/>
                  <a:gd name="T30" fmla="*/ 675 w 1994"/>
                  <a:gd name="T31" fmla="*/ 0 h 1392"/>
                  <a:gd name="T32" fmla="*/ 645 w 1994"/>
                  <a:gd name="T33" fmla="*/ 30 h 1392"/>
                  <a:gd name="T34" fmla="*/ 645 w 1994"/>
                  <a:gd name="T35" fmla="*/ 373 h 1392"/>
                  <a:gd name="T36" fmla="*/ 710 w 1994"/>
                  <a:gd name="T37" fmla="*/ 373 h 1392"/>
                  <a:gd name="T38" fmla="*/ 710 w 1994"/>
                  <a:gd name="T39" fmla="*/ 60 h 1392"/>
                  <a:gd name="T40" fmla="*/ 1928 w 1994"/>
                  <a:gd name="T41" fmla="*/ 60 h 1392"/>
                  <a:gd name="T42" fmla="*/ 1928 w 1994"/>
                  <a:gd name="T43" fmla="*/ 858 h 1392"/>
                  <a:gd name="T44" fmla="*/ 1279 w 1994"/>
                  <a:gd name="T45" fmla="*/ 858 h 1392"/>
                  <a:gd name="T46" fmla="*/ 1279 w 1994"/>
                  <a:gd name="T47" fmla="*/ 923 h 1392"/>
                  <a:gd name="T48" fmla="*/ 1964 w 1994"/>
                  <a:gd name="T49" fmla="*/ 923 h 1392"/>
                  <a:gd name="T50" fmla="*/ 1994 w 1994"/>
                  <a:gd name="T51" fmla="*/ 888 h 1392"/>
                  <a:gd name="T52" fmla="*/ 1994 w 1994"/>
                  <a:gd name="T53" fmla="*/ 30 h 1392"/>
                  <a:gd name="T54" fmla="*/ 1964 w 1994"/>
                  <a:gd name="T55" fmla="*/ 0 h 1392"/>
                  <a:gd name="T56" fmla="*/ 1279 w 1994"/>
                  <a:gd name="T57" fmla="*/ 706 h 1392"/>
                  <a:gd name="T58" fmla="*/ 1747 w 1994"/>
                  <a:gd name="T59" fmla="*/ 706 h 1392"/>
                  <a:gd name="T60" fmla="*/ 1777 w 1994"/>
                  <a:gd name="T61" fmla="*/ 676 h 1392"/>
                  <a:gd name="T62" fmla="*/ 1777 w 1994"/>
                  <a:gd name="T63" fmla="*/ 469 h 1392"/>
                  <a:gd name="T64" fmla="*/ 1767 w 1994"/>
                  <a:gd name="T65" fmla="*/ 444 h 1392"/>
                  <a:gd name="T66" fmla="*/ 1742 w 1994"/>
                  <a:gd name="T67" fmla="*/ 439 h 1392"/>
                  <a:gd name="T68" fmla="*/ 1611 w 1994"/>
                  <a:gd name="T69" fmla="*/ 464 h 1392"/>
                  <a:gd name="T70" fmla="*/ 1596 w 1994"/>
                  <a:gd name="T71" fmla="*/ 469 h 1392"/>
                  <a:gd name="T72" fmla="*/ 1485 w 1994"/>
                  <a:gd name="T73" fmla="*/ 560 h 1392"/>
                  <a:gd name="T74" fmla="*/ 1375 w 1994"/>
                  <a:gd name="T75" fmla="*/ 514 h 1392"/>
                  <a:gd name="T76" fmla="*/ 1365 w 1994"/>
                  <a:gd name="T77" fmla="*/ 514 h 1392"/>
                  <a:gd name="T78" fmla="*/ 1344 w 1994"/>
                  <a:gd name="T79" fmla="*/ 519 h 1392"/>
                  <a:gd name="T80" fmla="*/ 1344 w 1994"/>
                  <a:gd name="T81" fmla="*/ 519 h 1392"/>
                  <a:gd name="T82" fmla="*/ 1279 w 1994"/>
                  <a:gd name="T83" fmla="*/ 560 h 1392"/>
                  <a:gd name="T84" fmla="*/ 1279 w 1994"/>
                  <a:gd name="T85" fmla="*/ 570 h 1392"/>
                  <a:gd name="T86" fmla="*/ 1279 w 1994"/>
                  <a:gd name="T87" fmla="*/ 706 h 1392"/>
                  <a:gd name="T88" fmla="*/ 1083 w 1994"/>
                  <a:gd name="T89" fmla="*/ 429 h 1392"/>
                  <a:gd name="T90" fmla="*/ 141 w 1994"/>
                  <a:gd name="T91" fmla="*/ 429 h 1392"/>
                  <a:gd name="T92" fmla="*/ 0 w 1994"/>
                  <a:gd name="T93" fmla="*/ 570 h 1392"/>
                  <a:gd name="T94" fmla="*/ 0 w 1994"/>
                  <a:gd name="T95" fmla="*/ 1125 h 1392"/>
                  <a:gd name="T96" fmla="*/ 141 w 1994"/>
                  <a:gd name="T97" fmla="*/ 1266 h 1392"/>
                  <a:gd name="T98" fmla="*/ 192 w 1994"/>
                  <a:gd name="T99" fmla="*/ 1266 h 1392"/>
                  <a:gd name="T100" fmla="*/ 192 w 1994"/>
                  <a:gd name="T101" fmla="*/ 1362 h 1392"/>
                  <a:gd name="T102" fmla="*/ 212 w 1994"/>
                  <a:gd name="T103" fmla="*/ 1392 h 1392"/>
                  <a:gd name="T104" fmla="*/ 227 w 1994"/>
                  <a:gd name="T105" fmla="*/ 1392 h 1392"/>
                  <a:gd name="T106" fmla="*/ 242 w 1994"/>
                  <a:gd name="T107" fmla="*/ 1387 h 1392"/>
                  <a:gd name="T108" fmla="*/ 428 w 1994"/>
                  <a:gd name="T109" fmla="*/ 1266 h 1392"/>
                  <a:gd name="T110" fmla="*/ 1083 w 1994"/>
                  <a:gd name="T111" fmla="*/ 1266 h 1392"/>
                  <a:gd name="T112" fmla="*/ 1224 w 1994"/>
                  <a:gd name="T113" fmla="*/ 1125 h 1392"/>
                  <a:gd name="T114" fmla="*/ 1224 w 1994"/>
                  <a:gd name="T115" fmla="*/ 570 h 1392"/>
                  <a:gd name="T116" fmla="*/ 1083 w 1994"/>
                  <a:gd name="T117" fmla="*/ 429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94" h="1392">
                    <a:moveTo>
                      <a:pt x="891" y="343"/>
                    </a:moveTo>
                    <a:cubicBezTo>
                      <a:pt x="1319" y="343"/>
                      <a:pt x="1319" y="343"/>
                      <a:pt x="1319" y="343"/>
                    </a:cubicBezTo>
                    <a:cubicBezTo>
                      <a:pt x="1334" y="343"/>
                      <a:pt x="1349" y="328"/>
                      <a:pt x="1349" y="308"/>
                    </a:cubicBezTo>
                    <a:cubicBezTo>
                      <a:pt x="1349" y="292"/>
                      <a:pt x="1334" y="277"/>
                      <a:pt x="1319" y="277"/>
                    </a:cubicBezTo>
                    <a:cubicBezTo>
                      <a:pt x="891" y="277"/>
                      <a:pt x="891" y="277"/>
                      <a:pt x="891" y="277"/>
                    </a:cubicBezTo>
                    <a:cubicBezTo>
                      <a:pt x="871" y="277"/>
                      <a:pt x="856" y="292"/>
                      <a:pt x="856" y="308"/>
                    </a:cubicBezTo>
                    <a:cubicBezTo>
                      <a:pt x="856" y="328"/>
                      <a:pt x="871" y="343"/>
                      <a:pt x="891" y="343"/>
                    </a:cubicBezTo>
                    <a:close/>
                    <a:moveTo>
                      <a:pt x="891" y="212"/>
                    </a:moveTo>
                    <a:cubicBezTo>
                      <a:pt x="1747" y="212"/>
                      <a:pt x="1747" y="212"/>
                      <a:pt x="1747" y="212"/>
                    </a:cubicBezTo>
                    <a:cubicBezTo>
                      <a:pt x="1767" y="212"/>
                      <a:pt x="1777" y="197"/>
                      <a:pt x="1777" y="181"/>
                    </a:cubicBezTo>
                    <a:cubicBezTo>
                      <a:pt x="1777" y="161"/>
                      <a:pt x="1767" y="146"/>
                      <a:pt x="1747" y="146"/>
                    </a:cubicBezTo>
                    <a:cubicBezTo>
                      <a:pt x="891" y="146"/>
                      <a:pt x="891" y="146"/>
                      <a:pt x="891" y="146"/>
                    </a:cubicBezTo>
                    <a:cubicBezTo>
                      <a:pt x="871" y="146"/>
                      <a:pt x="856" y="161"/>
                      <a:pt x="856" y="181"/>
                    </a:cubicBezTo>
                    <a:cubicBezTo>
                      <a:pt x="856" y="197"/>
                      <a:pt x="871" y="212"/>
                      <a:pt x="891" y="212"/>
                    </a:cubicBezTo>
                    <a:close/>
                    <a:moveTo>
                      <a:pt x="1964" y="0"/>
                    </a:moveTo>
                    <a:cubicBezTo>
                      <a:pt x="675" y="0"/>
                      <a:pt x="675" y="0"/>
                      <a:pt x="675" y="0"/>
                    </a:cubicBezTo>
                    <a:cubicBezTo>
                      <a:pt x="660" y="0"/>
                      <a:pt x="645" y="10"/>
                      <a:pt x="645" y="30"/>
                    </a:cubicBezTo>
                    <a:cubicBezTo>
                      <a:pt x="645" y="373"/>
                      <a:pt x="645" y="373"/>
                      <a:pt x="645" y="373"/>
                    </a:cubicBezTo>
                    <a:cubicBezTo>
                      <a:pt x="710" y="373"/>
                      <a:pt x="710" y="373"/>
                      <a:pt x="710" y="373"/>
                    </a:cubicBezTo>
                    <a:cubicBezTo>
                      <a:pt x="710" y="60"/>
                      <a:pt x="710" y="60"/>
                      <a:pt x="710" y="60"/>
                    </a:cubicBezTo>
                    <a:cubicBezTo>
                      <a:pt x="1928" y="60"/>
                      <a:pt x="1928" y="60"/>
                      <a:pt x="1928" y="60"/>
                    </a:cubicBezTo>
                    <a:cubicBezTo>
                      <a:pt x="1928" y="858"/>
                      <a:pt x="1928" y="858"/>
                      <a:pt x="1928" y="858"/>
                    </a:cubicBezTo>
                    <a:cubicBezTo>
                      <a:pt x="1279" y="858"/>
                      <a:pt x="1279" y="858"/>
                      <a:pt x="1279" y="858"/>
                    </a:cubicBezTo>
                    <a:cubicBezTo>
                      <a:pt x="1279" y="923"/>
                      <a:pt x="1279" y="923"/>
                      <a:pt x="1279" y="923"/>
                    </a:cubicBezTo>
                    <a:cubicBezTo>
                      <a:pt x="1964" y="923"/>
                      <a:pt x="1964" y="923"/>
                      <a:pt x="1964" y="923"/>
                    </a:cubicBezTo>
                    <a:cubicBezTo>
                      <a:pt x="1979" y="923"/>
                      <a:pt x="1994" y="908"/>
                      <a:pt x="1994" y="888"/>
                    </a:cubicBezTo>
                    <a:cubicBezTo>
                      <a:pt x="1994" y="30"/>
                      <a:pt x="1994" y="30"/>
                      <a:pt x="1994" y="30"/>
                    </a:cubicBezTo>
                    <a:cubicBezTo>
                      <a:pt x="1994" y="10"/>
                      <a:pt x="1979" y="0"/>
                      <a:pt x="1964" y="0"/>
                    </a:cubicBezTo>
                    <a:close/>
                    <a:moveTo>
                      <a:pt x="1279" y="706"/>
                    </a:moveTo>
                    <a:cubicBezTo>
                      <a:pt x="1747" y="706"/>
                      <a:pt x="1747" y="706"/>
                      <a:pt x="1747" y="706"/>
                    </a:cubicBezTo>
                    <a:cubicBezTo>
                      <a:pt x="1767" y="706"/>
                      <a:pt x="1777" y="691"/>
                      <a:pt x="1777" y="676"/>
                    </a:cubicBezTo>
                    <a:cubicBezTo>
                      <a:pt x="1777" y="469"/>
                      <a:pt x="1777" y="469"/>
                      <a:pt x="1777" y="469"/>
                    </a:cubicBezTo>
                    <a:cubicBezTo>
                      <a:pt x="1777" y="459"/>
                      <a:pt x="1777" y="449"/>
                      <a:pt x="1767" y="444"/>
                    </a:cubicBezTo>
                    <a:cubicBezTo>
                      <a:pt x="1762" y="439"/>
                      <a:pt x="1752" y="434"/>
                      <a:pt x="1742" y="439"/>
                    </a:cubicBezTo>
                    <a:cubicBezTo>
                      <a:pt x="1611" y="464"/>
                      <a:pt x="1611" y="464"/>
                      <a:pt x="1611" y="464"/>
                    </a:cubicBezTo>
                    <a:cubicBezTo>
                      <a:pt x="1606" y="464"/>
                      <a:pt x="1601" y="464"/>
                      <a:pt x="1596" y="469"/>
                    </a:cubicBezTo>
                    <a:cubicBezTo>
                      <a:pt x="1485" y="560"/>
                      <a:pt x="1485" y="560"/>
                      <a:pt x="1485" y="560"/>
                    </a:cubicBezTo>
                    <a:cubicBezTo>
                      <a:pt x="1375" y="514"/>
                      <a:pt x="1375" y="514"/>
                      <a:pt x="1375" y="514"/>
                    </a:cubicBezTo>
                    <a:cubicBezTo>
                      <a:pt x="1375" y="514"/>
                      <a:pt x="1370" y="514"/>
                      <a:pt x="1365" y="514"/>
                    </a:cubicBezTo>
                    <a:cubicBezTo>
                      <a:pt x="1359" y="514"/>
                      <a:pt x="1349" y="514"/>
                      <a:pt x="1344" y="519"/>
                    </a:cubicBezTo>
                    <a:cubicBezTo>
                      <a:pt x="1344" y="519"/>
                      <a:pt x="1344" y="519"/>
                      <a:pt x="1344" y="519"/>
                    </a:cubicBezTo>
                    <a:cubicBezTo>
                      <a:pt x="1279" y="560"/>
                      <a:pt x="1279" y="560"/>
                      <a:pt x="1279" y="560"/>
                    </a:cubicBezTo>
                    <a:cubicBezTo>
                      <a:pt x="1279" y="560"/>
                      <a:pt x="1279" y="565"/>
                      <a:pt x="1279" y="570"/>
                    </a:cubicBezTo>
                    <a:cubicBezTo>
                      <a:pt x="1279" y="706"/>
                      <a:pt x="1279" y="706"/>
                      <a:pt x="1279" y="706"/>
                    </a:cubicBezTo>
                    <a:close/>
                    <a:moveTo>
                      <a:pt x="1083" y="429"/>
                    </a:moveTo>
                    <a:cubicBezTo>
                      <a:pt x="141" y="429"/>
                      <a:pt x="141" y="429"/>
                      <a:pt x="141" y="429"/>
                    </a:cubicBezTo>
                    <a:cubicBezTo>
                      <a:pt x="66" y="429"/>
                      <a:pt x="0" y="489"/>
                      <a:pt x="0" y="570"/>
                    </a:cubicBezTo>
                    <a:cubicBezTo>
                      <a:pt x="0" y="1125"/>
                      <a:pt x="0" y="1125"/>
                      <a:pt x="0" y="1125"/>
                    </a:cubicBezTo>
                    <a:cubicBezTo>
                      <a:pt x="0" y="1201"/>
                      <a:pt x="66" y="1266"/>
                      <a:pt x="141" y="1266"/>
                    </a:cubicBezTo>
                    <a:cubicBezTo>
                      <a:pt x="192" y="1266"/>
                      <a:pt x="192" y="1266"/>
                      <a:pt x="192" y="1266"/>
                    </a:cubicBezTo>
                    <a:cubicBezTo>
                      <a:pt x="192" y="1362"/>
                      <a:pt x="192" y="1362"/>
                      <a:pt x="192" y="1362"/>
                    </a:cubicBezTo>
                    <a:cubicBezTo>
                      <a:pt x="192" y="1372"/>
                      <a:pt x="202" y="1387"/>
                      <a:pt x="212" y="1392"/>
                    </a:cubicBezTo>
                    <a:cubicBezTo>
                      <a:pt x="217" y="1392"/>
                      <a:pt x="222" y="1392"/>
                      <a:pt x="227" y="1392"/>
                    </a:cubicBezTo>
                    <a:cubicBezTo>
                      <a:pt x="232" y="1392"/>
                      <a:pt x="237" y="1392"/>
                      <a:pt x="242" y="1387"/>
                    </a:cubicBezTo>
                    <a:cubicBezTo>
                      <a:pt x="428" y="1266"/>
                      <a:pt x="428" y="1266"/>
                      <a:pt x="428" y="1266"/>
                    </a:cubicBezTo>
                    <a:cubicBezTo>
                      <a:pt x="1083" y="1266"/>
                      <a:pt x="1083" y="1266"/>
                      <a:pt x="1083" y="1266"/>
                    </a:cubicBezTo>
                    <a:cubicBezTo>
                      <a:pt x="1163" y="1266"/>
                      <a:pt x="1224" y="1201"/>
                      <a:pt x="1224" y="1125"/>
                    </a:cubicBezTo>
                    <a:cubicBezTo>
                      <a:pt x="1224" y="570"/>
                      <a:pt x="1224" y="570"/>
                      <a:pt x="1224" y="570"/>
                    </a:cubicBezTo>
                    <a:cubicBezTo>
                      <a:pt x="1224" y="489"/>
                      <a:pt x="1163" y="429"/>
                      <a:pt x="1083" y="429"/>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41" name="Group 140"/>
              <p:cNvGrpSpPr/>
              <p:nvPr/>
            </p:nvGrpSpPr>
            <p:grpSpPr>
              <a:xfrm>
                <a:off x="6038380" y="5776778"/>
                <a:ext cx="856676" cy="568056"/>
                <a:chOff x="3067050" y="1341438"/>
                <a:chExt cx="6219826" cy="4124325"/>
              </a:xfrm>
              <a:grpFill/>
            </p:grpSpPr>
            <p:sp>
              <p:nvSpPr>
                <p:cNvPr id="142" name="Freeform 21"/>
                <p:cNvSpPr>
                  <a:spLocks/>
                </p:cNvSpPr>
                <p:nvPr/>
              </p:nvSpPr>
              <p:spPr bwMode="auto">
                <a:xfrm>
                  <a:off x="7073902" y="1728786"/>
                  <a:ext cx="2212974" cy="3281361"/>
                </a:xfrm>
                <a:custGeom>
                  <a:avLst/>
                  <a:gdLst>
                    <a:gd name="T0" fmla="*/ 38 w 589"/>
                    <a:gd name="T1" fmla="*/ 360 h 873"/>
                    <a:gd name="T2" fmla="*/ 28 w 589"/>
                    <a:gd name="T3" fmla="*/ 393 h 873"/>
                    <a:gd name="T4" fmla="*/ 22 w 589"/>
                    <a:gd name="T5" fmla="*/ 415 h 873"/>
                    <a:gd name="T6" fmla="*/ 44 w 589"/>
                    <a:gd name="T7" fmla="*/ 420 h 873"/>
                    <a:gd name="T8" fmla="*/ 126 w 589"/>
                    <a:gd name="T9" fmla="*/ 447 h 873"/>
                    <a:gd name="T10" fmla="*/ 126 w 589"/>
                    <a:gd name="T11" fmla="*/ 486 h 873"/>
                    <a:gd name="T12" fmla="*/ 82 w 589"/>
                    <a:gd name="T13" fmla="*/ 518 h 873"/>
                    <a:gd name="T14" fmla="*/ 71 w 589"/>
                    <a:gd name="T15" fmla="*/ 540 h 873"/>
                    <a:gd name="T16" fmla="*/ 191 w 589"/>
                    <a:gd name="T17" fmla="*/ 666 h 873"/>
                    <a:gd name="T18" fmla="*/ 240 w 589"/>
                    <a:gd name="T19" fmla="*/ 873 h 873"/>
                    <a:gd name="T20" fmla="*/ 589 w 589"/>
                    <a:gd name="T21" fmla="*/ 873 h 873"/>
                    <a:gd name="T22" fmla="*/ 578 w 589"/>
                    <a:gd name="T23" fmla="*/ 660 h 873"/>
                    <a:gd name="T24" fmla="*/ 524 w 589"/>
                    <a:gd name="T25" fmla="*/ 606 h 873"/>
                    <a:gd name="T26" fmla="*/ 436 w 589"/>
                    <a:gd name="T27" fmla="*/ 573 h 873"/>
                    <a:gd name="T28" fmla="*/ 382 w 589"/>
                    <a:gd name="T29" fmla="*/ 546 h 873"/>
                    <a:gd name="T30" fmla="*/ 355 w 589"/>
                    <a:gd name="T31" fmla="*/ 518 h 873"/>
                    <a:gd name="T32" fmla="*/ 317 w 589"/>
                    <a:gd name="T33" fmla="*/ 486 h 873"/>
                    <a:gd name="T34" fmla="*/ 317 w 589"/>
                    <a:gd name="T35" fmla="*/ 447 h 873"/>
                    <a:gd name="T36" fmla="*/ 398 w 589"/>
                    <a:gd name="T37" fmla="*/ 420 h 873"/>
                    <a:gd name="T38" fmla="*/ 420 w 589"/>
                    <a:gd name="T39" fmla="*/ 415 h 873"/>
                    <a:gd name="T40" fmla="*/ 409 w 589"/>
                    <a:gd name="T41" fmla="*/ 393 h 873"/>
                    <a:gd name="T42" fmla="*/ 398 w 589"/>
                    <a:gd name="T43" fmla="*/ 360 h 873"/>
                    <a:gd name="T44" fmla="*/ 442 w 589"/>
                    <a:gd name="T45" fmla="*/ 398 h 873"/>
                    <a:gd name="T46" fmla="*/ 409 w 589"/>
                    <a:gd name="T47" fmla="*/ 316 h 873"/>
                    <a:gd name="T48" fmla="*/ 393 w 589"/>
                    <a:gd name="T49" fmla="*/ 240 h 873"/>
                    <a:gd name="T50" fmla="*/ 366 w 589"/>
                    <a:gd name="T51" fmla="*/ 93 h 873"/>
                    <a:gd name="T52" fmla="*/ 322 w 589"/>
                    <a:gd name="T53" fmla="*/ 33 h 873"/>
                    <a:gd name="T54" fmla="*/ 224 w 589"/>
                    <a:gd name="T55" fmla="*/ 0 h 873"/>
                    <a:gd name="T56" fmla="*/ 218 w 589"/>
                    <a:gd name="T57" fmla="*/ 0 h 873"/>
                    <a:gd name="T58" fmla="*/ 218 w 589"/>
                    <a:gd name="T59" fmla="*/ 0 h 873"/>
                    <a:gd name="T60" fmla="*/ 120 w 589"/>
                    <a:gd name="T61" fmla="*/ 33 h 873"/>
                    <a:gd name="T62" fmla="*/ 77 w 589"/>
                    <a:gd name="T63" fmla="*/ 93 h 873"/>
                    <a:gd name="T64" fmla="*/ 49 w 589"/>
                    <a:gd name="T65" fmla="*/ 240 h 873"/>
                    <a:gd name="T66" fmla="*/ 33 w 589"/>
                    <a:gd name="T67" fmla="*/ 322 h 873"/>
                    <a:gd name="T68" fmla="*/ 0 w 589"/>
                    <a:gd name="T69" fmla="*/ 398 h 873"/>
                    <a:gd name="T70" fmla="*/ 38 w 589"/>
                    <a:gd name="T71" fmla="*/ 360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873">
                      <a:moveTo>
                        <a:pt x="38" y="360"/>
                      </a:moveTo>
                      <a:cubicBezTo>
                        <a:pt x="38" y="360"/>
                        <a:pt x="33" y="393"/>
                        <a:pt x="28" y="393"/>
                      </a:cubicBezTo>
                      <a:cubicBezTo>
                        <a:pt x="28" y="398"/>
                        <a:pt x="17" y="415"/>
                        <a:pt x="22" y="415"/>
                      </a:cubicBezTo>
                      <a:cubicBezTo>
                        <a:pt x="44" y="420"/>
                        <a:pt x="44" y="420"/>
                        <a:pt x="44" y="420"/>
                      </a:cubicBezTo>
                      <a:cubicBezTo>
                        <a:pt x="126" y="447"/>
                        <a:pt x="126" y="447"/>
                        <a:pt x="126" y="447"/>
                      </a:cubicBezTo>
                      <a:cubicBezTo>
                        <a:pt x="126" y="486"/>
                        <a:pt x="126" y="486"/>
                        <a:pt x="126" y="486"/>
                      </a:cubicBezTo>
                      <a:cubicBezTo>
                        <a:pt x="115" y="486"/>
                        <a:pt x="88" y="507"/>
                        <a:pt x="82" y="518"/>
                      </a:cubicBezTo>
                      <a:cubicBezTo>
                        <a:pt x="82" y="524"/>
                        <a:pt x="77" y="535"/>
                        <a:pt x="71" y="540"/>
                      </a:cubicBezTo>
                      <a:cubicBezTo>
                        <a:pt x="148" y="573"/>
                        <a:pt x="191" y="617"/>
                        <a:pt x="191" y="666"/>
                      </a:cubicBezTo>
                      <a:cubicBezTo>
                        <a:pt x="191" y="671"/>
                        <a:pt x="240" y="835"/>
                        <a:pt x="240" y="873"/>
                      </a:cubicBezTo>
                      <a:cubicBezTo>
                        <a:pt x="589" y="873"/>
                        <a:pt x="589" y="873"/>
                        <a:pt x="589" y="873"/>
                      </a:cubicBezTo>
                      <a:cubicBezTo>
                        <a:pt x="578" y="660"/>
                        <a:pt x="578" y="660"/>
                        <a:pt x="578" y="660"/>
                      </a:cubicBezTo>
                      <a:cubicBezTo>
                        <a:pt x="578" y="660"/>
                        <a:pt x="556" y="611"/>
                        <a:pt x="524" y="606"/>
                      </a:cubicBezTo>
                      <a:cubicBezTo>
                        <a:pt x="496" y="600"/>
                        <a:pt x="453" y="589"/>
                        <a:pt x="436" y="573"/>
                      </a:cubicBezTo>
                      <a:cubicBezTo>
                        <a:pt x="426" y="567"/>
                        <a:pt x="393" y="551"/>
                        <a:pt x="382" y="546"/>
                      </a:cubicBezTo>
                      <a:cubicBezTo>
                        <a:pt x="371" y="546"/>
                        <a:pt x="360" y="524"/>
                        <a:pt x="355" y="518"/>
                      </a:cubicBezTo>
                      <a:cubicBezTo>
                        <a:pt x="355" y="507"/>
                        <a:pt x="322" y="486"/>
                        <a:pt x="317" y="486"/>
                      </a:cubicBezTo>
                      <a:cubicBezTo>
                        <a:pt x="317" y="447"/>
                        <a:pt x="317" y="447"/>
                        <a:pt x="317" y="447"/>
                      </a:cubicBezTo>
                      <a:cubicBezTo>
                        <a:pt x="398" y="420"/>
                        <a:pt x="398" y="420"/>
                        <a:pt x="398" y="420"/>
                      </a:cubicBezTo>
                      <a:cubicBezTo>
                        <a:pt x="420" y="415"/>
                        <a:pt x="420" y="415"/>
                        <a:pt x="420" y="415"/>
                      </a:cubicBezTo>
                      <a:cubicBezTo>
                        <a:pt x="426" y="415"/>
                        <a:pt x="409" y="398"/>
                        <a:pt x="409" y="393"/>
                      </a:cubicBezTo>
                      <a:cubicBezTo>
                        <a:pt x="409" y="387"/>
                        <a:pt x="398" y="360"/>
                        <a:pt x="398" y="360"/>
                      </a:cubicBezTo>
                      <a:cubicBezTo>
                        <a:pt x="398" y="360"/>
                        <a:pt x="431" y="393"/>
                        <a:pt x="442" y="398"/>
                      </a:cubicBezTo>
                      <a:cubicBezTo>
                        <a:pt x="442" y="398"/>
                        <a:pt x="415" y="349"/>
                        <a:pt x="409" y="316"/>
                      </a:cubicBezTo>
                      <a:cubicBezTo>
                        <a:pt x="398" y="289"/>
                        <a:pt x="393" y="246"/>
                        <a:pt x="393" y="240"/>
                      </a:cubicBezTo>
                      <a:cubicBezTo>
                        <a:pt x="393" y="235"/>
                        <a:pt x="376" y="115"/>
                        <a:pt x="366" y="93"/>
                      </a:cubicBezTo>
                      <a:cubicBezTo>
                        <a:pt x="355" y="76"/>
                        <a:pt x="344" y="44"/>
                        <a:pt x="322" y="33"/>
                      </a:cubicBezTo>
                      <a:cubicBezTo>
                        <a:pt x="300" y="22"/>
                        <a:pt x="267" y="0"/>
                        <a:pt x="224" y="0"/>
                      </a:cubicBezTo>
                      <a:cubicBezTo>
                        <a:pt x="224" y="0"/>
                        <a:pt x="224" y="0"/>
                        <a:pt x="218" y="0"/>
                      </a:cubicBezTo>
                      <a:cubicBezTo>
                        <a:pt x="218" y="0"/>
                        <a:pt x="218" y="0"/>
                        <a:pt x="218" y="0"/>
                      </a:cubicBezTo>
                      <a:cubicBezTo>
                        <a:pt x="175" y="0"/>
                        <a:pt x="142" y="22"/>
                        <a:pt x="120" y="33"/>
                      </a:cubicBezTo>
                      <a:cubicBezTo>
                        <a:pt x="98" y="44"/>
                        <a:pt x="82" y="76"/>
                        <a:pt x="77" y="93"/>
                      </a:cubicBezTo>
                      <a:cubicBezTo>
                        <a:pt x="66" y="115"/>
                        <a:pt x="49" y="235"/>
                        <a:pt x="49" y="240"/>
                      </a:cubicBezTo>
                      <a:cubicBezTo>
                        <a:pt x="49" y="246"/>
                        <a:pt x="44" y="289"/>
                        <a:pt x="33" y="322"/>
                      </a:cubicBezTo>
                      <a:cubicBezTo>
                        <a:pt x="28" y="349"/>
                        <a:pt x="0" y="398"/>
                        <a:pt x="0" y="398"/>
                      </a:cubicBezTo>
                      <a:cubicBezTo>
                        <a:pt x="11" y="393"/>
                        <a:pt x="38" y="360"/>
                        <a:pt x="3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3" name="Freeform 22"/>
                <p:cNvSpPr>
                  <a:spLocks/>
                </p:cNvSpPr>
                <p:nvPr/>
              </p:nvSpPr>
              <p:spPr bwMode="auto">
                <a:xfrm>
                  <a:off x="3067050" y="1600198"/>
                  <a:ext cx="2239966" cy="3332164"/>
                </a:xfrm>
                <a:custGeom>
                  <a:avLst/>
                  <a:gdLst>
                    <a:gd name="T0" fmla="*/ 388 w 596"/>
                    <a:gd name="T1" fmla="*/ 733 h 886"/>
                    <a:gd name="T2" fmla="*/ 388 w 596"/>
                    <a:gd name="T3" fmla="*/ 728 h 886"/>
                    <a:gd name="T4" fmla="*/ 388 w 596"/>
                    <a:gd name="T5" fmla="*/ 728 h 886"/>
                    <a:gd name="T6" fmla="*/ 591 w 596"/>
                    <a:gd name="T7" fmla="*/ 558 h 886"/>
                    <a:gd name="T8" fmla="*/ 591 w 596"/>
                    <a:gd name="T9" fmla="*/ 558 h 886"/>
                    <a:gd name="T10" fmla="*/ 520 w 596"/>
                    <a:gd name="T11" fmla="*/ 525 h 886"/>
                    <a:gd name="T12" fmla="*/ 509 w 596"/>
                    <a:gd name="T13" fmla="*/ 454 h 886"/>
                    <a:gd name="T14" fmla="*/ 569 w 596"/>
                    <a:gd name="T15" fmla="*/ 334 h 886"/>
                    <a:gd name="T16" fmla="*/ 591 w 596"/>
                    <a:gd name="T17" fmla="*/ 301 h 886"/>
                    <a:gd name="T18" fmla="*/ 574 w 596"/>
                    <a:gd name="T19" fmla="*/ 236 h 886"/>
                    <a:gd name="T20" fmla="*/ 574 w 596"/>
                    <a:gd name="T21" fmla="*/ 186 h 886"/>
                    <a:gd name="T22" fmla="*/ 525 w 596"/>
                    <a:gd name="T23" fmla="*/ 72 h 886"/>
                    <a:gd name="T24" fmla="*/ 476 w 596"/>
                    <a:gd name="T25" fmla="*/ 39 h 886"/>
                    <a:gd name="T26" fmla="*/ 438 w 596"/>
                    <a:gd name="T27" fmla="*/ 28 h 886"/>
                    <a:gd name="T28" fmla="*/ 438 w 596"/>
                    <a:gd name="T29" fmla="*/ 39 h 886"/>
                    <a:gd name="T30" fmla="*/ 438 w 596"/>
                    <a:gd name="T31" fmla="*/ 39 h 886"/>
                    <a:gd name="T32" fmla="*/ 432 w 596"/>
                    <a:gd name="T33" fmla="*/ 11 h 886"/>
                    <a:gd name="T34" fmla="*/ 432 w 596"/>
                    <a:gd name="T35" fmla="*/ 0 h 886"/>
                    <a:gd name="T36" fmla="*/ 383 w 596"/>
                    <a:gd name="T37" fmla="*/ 50 h 886"/>
                    <a:gd name="T38" fmla="*/ 388 w 596"/>
                    <a:gd name="T39" fmla="*/ 22 h 886"/>
                    <a:gd name="T40" fmla="*/ 317 w 596"/>
                    <a:gd name="T41" fmla="*/ 72 h 886"/>
                    <a:gd name="T42" fmla="*/ 268 w 596"/>
                    <a:gd name="T43" fmla="*/ 197 h 886"/>
                    <a:gd name="T44" fmla="*/ 273 w 596"/>
                    <a:gd name="T45" fmla="*/ 236 h 886"/>
                    <a:gd name="T46" fmla="*/ 262 w 596"/>
                    <a:gd name="T47" fmla="*/ 301 h 886"/>
                    <a:gd name="T48" fmla="*/ 290 w 596"/>
                    <a:gd name="T49" fmla="*/ 345 h 886"/>
                    <a:gd name="T50" fmla="*/ 334 w 596"/>
                    <a:gd name="T51" fmla="*/ 454 h 886"/>
                    <a:gd name="T52" fmla="*/ 323 w 596"/>
                    <a:gd name="T53" fmla="*/ 525 h 886"/>
                    <a:gd name="T54" fmla="*/ 230 w 596"/>
                    <a:gd name="T55" fmla="*/ 569 h 886"/>
                    <a:gd name="T56" fmla="*/ 104 w 596"/>
                    <a:gd name="T57" fmla="*/ 613 h 886"/>
                    <a:gd name="T58" fmla="*/ 22 w 596"/>
                    <a:gd name="T59" fmla="*/ 886 h 886"/>
                    <a:gd name="T60" fmla="*/ 350 w 596"/>
                    <a:gd name="T61" fmla="*/ 886 h 886"/>
                    <a:gd name="T62" fmla="*/ 388 w 596"/>
                    <a:gd name="T63" fmla="*/ 733 h 886"/>
                    <a:gd name="T64" fmla="*/ 388 w 596"/>
                    <a:gd name="T65" fmla="*/ 733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6" h="886">
                      <a:moveTo>
                        <a:pt x="388" y="733"/>
                      </a:moveTo>
                      <a:cubicBezTo>
                        <a:pt x="388" y="728"/>
                        <a:pt x="388" y="728"/>
                        <a:pt x="388" y="728"/>
                      </a:cubicBezTo>
                      <a:cubicBezTo>
                        <a:pt x="388" y="728"/>
                        <a:pt x="388" y="728"/>
                        <a:pt x="388" y="728"/>
                      </a:cubicBezTo>
                      <a:cubicBezTo>
                        <a:pt x="410" y="629"/>
                        <a:pt x="525" y="586"/>
                        <a:pt x="591" y="558"/>
                      </a:cubicBezTo>
                      <a:cubicBezTo>
                        <a:pt x="591" y="558"/>
                        <a:pt x="591" y="558"/>
                        <a:pt x="591" y="558"/>
                      </a:cubicBezTo>
                      <a:cubicBezTo>
                        <a:pt x="553" y="536"/>
                        <a:pt x="531" y="525"/>
                        <a:pt x="520" y="525"/>
                      </a:cubicBezTo>
                      <a:cubicBezTo>
                        <a:pt x="520" y="514"/>
                        <a:pt x="509" y="454"/>
                        <a:pt x="509" y="454"/>
                      </a:cubicBezTo>
                      <a:cubicBezTo>
                        <a:pt x="509" y="454"/>
                        <a:pt x="558" y="416"/>
                        <a:pt x="569" y="334"/>
                      </a:cubicBezTo>
                      <a:cubicBezTo>
                        <a:pt x="569" y="334"/>
                        <a:pt x="591" y="350"/>
                        <a:pt x="591" y="301"/>
                      </a:cubicBezTo>
                      <a:cubicBezTo>
                        <a:pt x="591" y="263"/>
                        <a:pt x="596" y="247"/>
                        <a:pt x="574" y="236"/>
                      </a:cubicBezTo>
                      <a:cubicBezTo>
                        <a:pt x="574" y="236"/>
                        <a:pt x="574" y="214"/>
                        <a:pt x="574" y="186"/>
                      </a:cubicBezTo>
                      <a:cubicBezTo>
                        <a:pt x="574" y="154"/>
                        <a:pt x="585" y="110"/>
                        <a:pt x="525" y="72"/>
                      </a:cubicBezTo>
                      <a:cubicBezTo>
                        <a:pt x="514" y="66"/>
                        <a:pt x="476" y="39"/>
                        <a:pt x="476" y="39"/>
                      </a:cubicBezTo>
                      <a:cubicBezTo>
                        <a:pt x="459" y="33"/>
                        <a:pt x="438" y="28"/>
                        <a:pt x="438" y="28"/>
                      </a:cubicBezTo>
                      <a:cubicBezTo>
                        <a:pt x="438" y="39"/>
                        <a:pt x="438" y="39"/>
                        <a:pt x="438" y="39"/>
                      </a:cubicBezTo>
                      <a:cubicBezTo>
                        <a:pt x="438" y="39"/>
                        <a:pt x="438" y="39"/>
                        <a:pt x="438" y="39"/>
                      </a:cubicBezTo>
                      <a:cubicBezTo>
                        <a:pt x="432" y="33"/>
                        <a:pt x="432" y="17"/>
                        <a:pt x="432" y="11"/>
                      </a:cubicBezTo>
                      <a:cubicBezTo>
                        <a:pt x="432" y="0"/>
                        <a:pt x="432" y="0"/>
                        <a:pt x="432" y="0"/>
                      </a:cubicBezTo>
                      <a:cubicBezTo>
                        <a:pt x="405" y="22"/>
                        <a:pt x="383" y="50"/>
                        <a:pt x="383" y="50"/>
                      </a:cubicBezTo>
                      <a:cubicBezTo>
                        <a:pt x="388" y="22"/>
                        <a:pt x="388" y="22"/>
                        <a:pt x="388" y="22"/>
                      </a:cubicBezTo>
                      <a:cubicBezTo>
                        <a:pt x="388" y="22"/>
                        <a:pt x="383" y="28"/>
                        <a:pt x="317" y="72"/>
                      </a:cubicBezTo>
                      <a:cubicBezTo>
                        <a:pt x="257" y="110"/>
                        <a:pt x="268" y="165"/>
                        <a:pt x="268" y="197"/>
                      </a:cubicBezTo>
                      <a:cubicBezTo>
                        <a:pt x="268" y="219"/>
                        <a:pt x="273" y="236"/>
                        <a:pt x="273" y="236"/>
                      </a:cubicBezTo>
                      <a:cubicBezTo>
                        <a:pt x="246" y="247"/>
                        <a:pt x="262" y="263"/>
                        <a:pt x="262" y="301"/>
                      </a:cubicBezTo>
                      <a:cubicBezTo>
                        <a:pt x="262" y="350"/>
                        <a:pt x="290" y="345"/>
                        <a:pt x="290" y="345"/>
                      </a:cubicBezTo>
                      <a:cubicBezTo>
                        <a:pt x="301" y="411"/>
                        <a:pt x="334" y="454"/>
                        <a:pt x="334" y="454"/>
                      </a:cubicBezTo>
                      <a:cubicBezTo>
                        <a:pt x="334" y="454"/>
                        <a:pt x="323" y="514"/>
                        <a:pt x="323" y="525"/>
                      </a:cubicBezTo>
                      <a:cubicBezTo>
                        <a:pt x="312" y="525"/>
                        <a:pt x="284" y="542"/>
                        <a:pt x="230" y="569"/>
                      </a:cubicBezTo>
                      <a:cubicBezTo>
                        <a:pt x="148" y="602"/>
                        <a:pt x="169" y="580"/>
                        <a:pt x="104" y="613"/>
                      </a:cubicBezTo>
                      <a:cubicBezTo>
                        <a:pt x="0" y="668"/>
                        <a:pt x="22" y="886"/>
                        <a:pt x="22" y="886"/>
                      </a:cubicBezTo>
                      <a:cubicBezTo>
                        <a:pt x="350" y="886"/>
                        <a:pt x="350" y="886"/>
                        <a:pt x="350" y="886"/>
                      </a:cubicBezTo>
                      <a:cubicBezTo>
                        <a:pt x="388" y="733"/>
                        <a:pt x="388" y="733"/>
                        <a:pt x="388" y="733"/>
                      </a:cubicBezTo>
                      <a:cubicBezTo>
                        <a:pt x="388" y="733"/>
                        <a:pt x="388" y="733"/>
                        <a:pt x="38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4" name="Freeform 23"/>
                <p:cNvSpPr>
                  <a:spLocks/>
                </p:cNvSpPr>
                <p:nvPr/>
              </p:nvSpPr>
              <p:spPr bwMode="auto">
                <a:xfrm>
                  <a:off x="4443415" y="1341438"/>
                  <a:ext cx="3475042" cy="4124325"/>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124" name="Freeform 17"/>
            <p:cNvSpPr>
              <a:spLocks noEditPoints="1"/>
            </p:cNvSpPr>
            <p:nvPr/>
          </p:nvSpPr>
          <p:spPr bwMode="auto">
            <a:xfrm>
              <a:off x="11146113" y="5013808"/>
              <a:ext cx="977625" cy="173791"/>
            </a:xfrm>
            <a:custGeom>
              <a:avLst/>
              <a:gdLst>
                <a:gd name="T0" fmla="*/ 319 w 1808"/>
                <a:gd name="T1" fmla="*/ 283 h 319"/>
                <a:gd name="T2" fmla="*/ 109 w 1808"/>
                <a:gd name="T3" fmla="*/ 195 h 319"/>
                <a:gd name="T4" fmla="*/ 3 w 1808"/>
                <a:gd name="T5" fmla="*/ 78 h 319"/>
                <a:gd name="T6" fmla="*/ 237 w 1808"/>
                <a:gd name="T7" fmla="*/ 2 h 319"/>
                <a:gd name="T8" fmla="*/ 239 w 1808"/>
                <a:gd name="T9" fmla="*/ 225 h 319"/>
                <a:gd name="T10" fmla="*/ 1807 w 1808"/>
                <a:gd name="T11" fmla="*/ 180 h 319"/>
                <a:gd name="T12" fmla="*/ 1571 w 1808"/>
                <a:gd name="T13" fmla="*/ 133 h 319"/>
                <a:gd name="T14" fmla="*/ 1593 w 1808"/>
                <a:gd name="T15" fmla="*/ 250 h 319"/>
                <a:gd name="T16" fmla="*/ 1569 w 1808"/>
                <a:gd name="T17" fmla="*/ 234 h 319"/>
                <a:gd name="T18" fmla="*/ 1543 w 1808"/>
                <a:gd name="T19" fmla="*/ 117 h 319"/>
                <a:gd name="T20" fmla="*/ 1568 w 1808"/>
                <a:gd name="T21" fmla="*/ 158 h 319"/>
                <a:gd name="T22" fmla="*/ 1553 w 1808"/>
                <a:gd name="T23" fmla="*/ 232 h 319"/>
                <a:gd name="T24" fmla="*/ 489 w 1808"/>
                <a:gd name="T25" fmla="*/ 255 h 319"/>
                <a:gd name="T26" fmla="*/ 555 w 1808"/>
                <a:gd name="T27" fmla="*/ 66 h 319"/>
                <a:gd name="T28" fmla="*/ 441 w 1808"/>
                <a:gd name="T29" fmla="*/ 66 h 319"/>
                <a:gd name="T30" fmla="*/ 1118 w 1808"/>
                <a:gd name="T31" fmla="*/ 249 h 319"/>
                <a:gd name="T32" fmla="*/ 1185 w 1808"/>
                <a:gd name="T33" fmla="*/ 156 h 319"/>
                <a:gd name="T34" fmla="*/ 1164 w 1808"/>
                <a:gd name="T35" fmla="*/ 82 h 319"/>
                <a:gd name="T36" fmla="*/ 1215 w 1808"/>
                <a:gd name="T37" fmla="*/ 67 h 319"/>
                <a:gd name="T38" fmla="*/ 1147 w 1808"/>
                <a:gd name="T39" fmla="*/ 159 h 319"/>
                <a:gd name="T40" fmla="*/ 1137 w 1808"/>
                <a:gd name="T41" fmla="*/ 233 h 319"/>
                <a:gd name="T42" fmla="*/ 912 w 1808"/>
                <a:gd name="T43" fmla="*/ 255 h 319"/>
                <a:gd name="T44" fmla="*/ 972 w 1808"/>
                <a:gd name="T45" fmla="*/ 169 h 319"/>
                <a:gd name="T46" fmla="*/ 901 w 1808"/>
                <a:gd name="T47" fmla="*/ 148 h 319"/>
                <a:gd name="T48" fmla="*/ 994 w 1808"/>
                <a:gd name="T49" fmla="*/ 147 h 319"/>
                <a:gd name="T50" fmla="*/ 976 w 1808"/>
                <a:gd name="T51" fmla="*/ 255 h 319"/>
                <a:gd name="T52" fmla="*/ 972 w 1808"/>
                <a:gd name="T53" fmla="*/ 186 h 319"/>
                <a:gd name="T54" fmla="*/ 971 w 1808"/>
                <a:gd name="T55" fmla="*/ 217 h 319"/>
                <a:gd name="T56" fmla="*/ 1717 w 1808"/>
                <a:gd name="T57" fmla="*/ 255 h 319"/>
                <a:gd name="T58" fmla="*/ 1807 w 1808"/>
                <a:gd name="T59" fmla="*/ 180 h 319"/>
                <a:gd name="T60" fmla="*/ 1785 w 1808"/>
                <a:gd name="T61" fmla="*/ 194 h 319"/>
                <a:gd name="T62" fmla="*/ 1421 w 1808"/>
                <a:gd name="T63" fmla="*/ 238 h 319"/>
                <a:gd name="T64" fmla="*/ 1443 w 1808"/>
                <a:gd name="T65" fmla="*/ 122 h 319"/>
                <a:gd name="T66" fmla="*/ 1421 w 1808"/>
                <a:gd name="T67" fmla="*/ 196 h 319"/>
                <a:gd name="T68" fmla="*/ 1351 w 1808"/>
                <a:gd name="T69" fmla="*/ 120 h 319"/>
                <a:gd name="T70" fmla="*/ 1334 w 1808"/>
                <a:gd name="T71" fmla="*/ 229 h 319"/>
                <a:gd name="T72" fmla="*/ 842 w 1808"/>
                <a:gd name="T73" fmla="*/ 237 h 319"/>
                <a:gd name="T74" fmla="*/ 864 w 1808"/>
                <a:gd name="T75" fmla="*/ 120 h 319"/>
                <a:gd name="T76" fmla="*/ 841 w 1808"/>
                <a:gd name="T77" fmla="*/ 211 h 319"/>
                <a:gd name="T78" fmla="*/ 770 w 1808"/>
                <a:gd name="T79" fmla="*/ 118 h 319"/>
                <a:gd name="T80" fmla="*/ 804 w 1808"/>
                <a:gd name="T81" fmla="*/ 258 h 319"/>
                <a:gd name="T82" fmla="*/ 654 w 1808"/>
                <a:gd name="T83" fmla="*/ 253 h 319"/>
                <a:gd name="T84" fmla="*/ 678 w 1808"/>
                <a:gd name="T85" fmla="*/ 169 h 319"/>
                <a:gd name="T86" fmla="*/ 725 w 1808"/>
                <a:gd name="T87" fmla="*/ 140 h 319"/>
                <a:gd name="T88" fmla="*/ 680 w 1808"/>
                <a:gd name="T89" fmla="*/ 195 h 319"/>
                <a:gd name="T90" fmla="*/ 647 w 1808"/>
                <a:gd name="T91" fmla="*/ 227 h 319"/>
                <a:gd name="T92" fmla="*/ 1251 w 1808"/>
                <a:gd name="T93" fmla="*/ 118 h 319"/>
                <a:gd name="T94" fmla="*/ 1255 w 1808"/>
                <a:gd name="T95" fmla="*/ 141 h 319"/>
                <a:gd name="T96" fmla="*/ 1311 w 1808"/>
                <a:gd name="T97" fmla="*/ 252 h 319"/>
                <a:gd name="T98" fmla="*/ 1277 w 1808"/>
                <a:gd name="T99" fmla="*/ 141 h 319"/>
                <a:gd name="T100" fmla="*/ 1311 w 1808"/>
                <a:gd name="T101" fmla="*/ 121 h 319"/>
                <a:gd name="T102" fmla="*/ 1275 w 1808"/>
                <a:gd name="T103" fmla="*/ 78 h 319"/>
                <a:gd name="T104" fmla="*/ 1050 w 1808"/>
                <a:gd name="T105" fmla="*/ 57 h 319"/>
                <a:gd name="T106" fmla="*/ 1028 w 1808"/>
                <a:gd name="T107" fmla="*/ 154 h 319"/>
                <a:gd name="T108" fmla="*/ 620 w 1808"/>
                <a:gd name="T109" fmla="*/ 251 h 319"/>
                <a:gd name="T110" fmla="*/ 598 w 1808"/>
                <a:gd name="T111" fmla="*/ 123 h 319"/>
                <a:gd name="T112" fmla="*/ 1631 w 1808"/>
                <a:gd name="T113" fmla="*/ 118 h 319"/>
                <a:gd name="T114" fmla="*/ 1648 w 1808"/>
                <a:gd name="T115" fmla="*/ 253 h 319"/>
                <a:gd name="T116" fmla="*/ 595 w 1808"/>
                <a:gd name="T117" fmla="*/ 74 h 319"/>
                <a:gd name="T118" fmla="*/ 1636 w 1808"/>
                <a:gd name="T119"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8" h="319">
                  <a:moveTo>
                    <a:pt x="241" y="0"/>
                  </a:moveTo>
                  <a:cubicBezTo>
                    <a:pt x="241" y="1"/>
                    <a:pt x="242" y="1"/>
                    <a:pt x="243" y="1"/>
                  </a:cubicBezTo>
                  <a:cubicBezTo>
                    <a:pt x="267" y="11"/>
                    <a:pt x="292" y="21"/>
                    <a:pt x="316" y="30"/>
                  </a:cubicBezTo>
                  <a:cubicBezTo>
                    <a:pt x="320" y="32"/>
                    <a:pt x="319" y="31"/>
                    <a:pt x="319" y="36"/>
                  </a:cubicBezTo>
                  <a:cubicBezTo>
                    <a:pt x="319" y="118"/>
                    <a:pt x="319" y="201"/>
                    <a:pt x="319" y="283"/>
                  </a:cubicBezTo>
                  <a:cubicBezTo>
                    <a:pt x="319" y="283"/>
                    <a:pt x="319" y="283"/>
                    <a:pt x="319" y="283"/>
                  </a:cubicBezTo>
                  <a:cubicBezTo>
                    <a:pt x="319" y="288"/>
                    <a:pt x="320" y="287"/>
                    <a:pt x="316" y="288"/>
                  </a:cubicBezTo>
                  <a:cubicBezTo>
                    <a:pt x="302" y="294"/>
                    <a:pt x="288" y="300"/>
                    <a:pt x="274" y="305"/>
                  </a:cubicBezTo>
                  <a:cubicBezTo>
                    <a:pt x="264" y="309"/>
                    <a:pt x="253" y="313"/>
                    <a:pt x="243" y="318"/>
                  </a:cubicBezTo>
                  <a:cubicBezTo>
                    <a:pt x="240" y="319"/>
                    <a:pt x="239" y="318"/>
                    <a:pt x="237" y="316"/>
                  </a:cubicBezTo>
                  <a:cubicBezTo>
                    <a:pt x="197" y="276"/>
                    <a:pt x="156" y="236"/>
                    <a:pt x="116" y="195"/>
                  </a:cubicBezTo>
                  <a:cubicBezTo>
                    <a:pt x="113" y="192"/>
                    <a:pt x="113" y="192"/>
                    <a:pt x="109" y="195"/>
                  </a:cubicBezTo>
                  <a:cubicBezTo>
                    <a:pt x="85" y="214"/>
                    <a:pt x="60" y="234"/>
                    <a:pt x="35" y="253"/>
                  </a:cubicBezTo>
                  <a:cubicBezTo>
                    <a:pt x="33" y="255"/>
                    <a:pt x="31" y="255"/>
                    <a:pt x="29" y="254"/>
                  </a:cubicBezTo>
                  <a:cubicBezTo>
                    <a:pt x="20" y="249"/>
                    <a:pt x="12" y="245"/>
                    <a:pt x="3" y="241"/>
                  </a:cubicBezTo>
                  <a:cubicBezTo>
                    <a:pt x="2" y="240"/>
                    <a:pt x="1" y="239"/>
                    <a:pt x="0" y="239"/>
                  </a:cubicBezTo>
                  <a:cubicBezTo>
                    <a:pt x="0" y="186"/>
                    <a:pt x="0" y="132"/>
                    <a:pt x="0" y="79"/>
                  </a:cubicBezTo>
                  <a:cubicBezTo>
                    <a:pt x="1" y="79"/>
                    <a:pt x="2" y="79"/>
                    <a:pt x="3" y="78"/>
                  </a:cubicBezTo>
                  <a:cubicBezTo>
                    <a:pt x="12" y="74"/>
                    <a:pt x="20" y="70"/>
                    <a:pt x="29" y="65"/>
                  </a:cubicBezTo>
                  <a:cubicBezTo>
                    <a:pt x="31" y="64"/>
                    <a:pt x="33" y="64"/>
                    <a:pt x="35" y="66"/>
                  </a:cubicBezTo>
                  <a:cubicBezTo>
                    <a:pt x="60" y="85"/>
                    <a:pt x="85" y="105"/>
                    <a:pt x="110" y="124"/>
                  </a:cubicBezTo>
                  <a:cubicBezTo>
                    <a:pt x="113" y="126"/>
                    <a:pt x="113" y="127"/>
                    <a:pt x="115" y="124"/>
                  </a:cubicBezTo>
                  <a:cubicBezTo>
                    <a:pt x="115" y="124"/>
                    <a:pt x="115" y="124"/>
                    <a:pt x="116" y="123"/>
                  </a:cubicBezTo>
                  <a:cubicBezTo>
                    <a:pt x="156" y="83"/>
                    <a:pt x="197" y="43"/>
                    <a:pt x="237" y="2"/>
                  </a:cubicBezTo>
                  <a:cubicBezTo>
                    <a:pt x="238" y="1"/>
                    <a:pt x="239" y="1"/>
                    <a:pt x="239" y="0"/>
                  </a:cubicBezTo>
                  <a:cubicBezTo>
                    <a:pt x="240" y="0"/>
                    <a:pt x="240" y="0"/>
                    <a:pt x="241" y="0"/>
                  </a:cubicBezTo>
                  <a:close/>
                  <a:moveTo>
                    <a:pt x="239" y="225"/>
                  </a:moveTo>
                  <a:cubicBezTo>
                    <a:pt x="239" y="181"/>
                    <a:pt x="239" y="138"/>
                    <a:pt x="239" y="94"/>
                  </a:cubicBezTo>
                  <a:cubicBezTo>
                    <a:pt x="211" y="116"/>
                    <a:pt x="183" y="138"/>
                    <a:pt x="155" y="159"/>
                  </a:cubicBezTo>
                  <a:cubicBezTo>
                    <a:pt x="183" y="181"/>
                    <a:pt x="211" y="203"/>
                    <a:pt x="239" y="225"/>
                  </a:cubicBezTo>
                  <a:close/>
                  <a:moveTo>
                    <a:pt x="32" y="206"/>
                  </a:moveTo>
                  <a:cubicBezTo>
                    <a:pt x="48" y="190"/>
                    <a:pt x="64" y="175"/>
                    <a:pt x="79" y="160"/>
                  </a:cubicBezTo>
                  <a:cubicBezTo>
                    <a:pt x="63" y="144"/>
                    <a:pt x="48" y="128"/>
                    <a:pt x="32" y="113"/>
                  </a:cubicBezTo>
                  <a:cubicBezTo>
                    <a:pt x="32" y="144"/>
                    <a:pt x="32" y="175"/>
                    <a:pt x="32" y="206"/>
                  </a:cubicBezTo>
                  <a:close/>
                  <a:moveTo>
                    <a:pt x="1808" y="180"/>
                  </a:moveTo>
                  <a:cubicBezTo>
                    <a:pt x="1808" y="180"/>
                    <a:pt x="1807" y="180"/>
                    <a:pt x="1807" y="180"/>
                  </a:cubicBezTo>
                  <a:cubicBezTo>
                    <a:pt x="1807" y="184"/>
                    <a:pt x="1807" y="188"/>
                    <a:pt x="1807" y="192"/>
                  </a:cubicBezTo>
                  <a:cubicBezTo>
                    <a:pt x="1807" y="192"/>
                    <a:pt x="1807" y="192"/>
                    <a:pt x="1807" y="192"/>
                  </a:cubicBezTo>
                  <a:cubicBezTo>
                    <a:pt x="1808" y="192"/>
                    <a:pt x="1808" y="192"/>
                    <a:pt x="1808" y="192"/>
                  </a:cubicBezTo>
                  <a:cubicBezTo>
                    <a:pt x="1808" y="188"/>
                    <a:pt x="1808" y="184"/>
                    <a:pt x="1808" y="180"/>
                  </a:cubicBezTo>
                  <a:close/>
                  <a:moveTo>
                    <a:pt x="1571" y="137"/>
                  </a:moveTo>
                  <a:cubicBezTo>
                    <a:pt x="1571" y="135"/>
                    <a:pt x="1571" y="134"/>
                    <a:pt x="1571" y="133"/>
                  </a:cubicBezTo>
                  <a:cubicBezTo>
                    <a:pt x="1571" y="107"/>
                    <a:pt x="1571" y="82"/>
                    <a:pt x="1571" y="57"/>
                  </a:cubicBezTo>
                  <a:cubicBezTo>
                    <a:pt x="1571" y="52"/>
                    <a:pt x="1570" y="53"/>
                    <a:pt x="1575" y="53"/>
                  </a:cubicBezTo>
                  <a:cubicBezTo>
                    <a:pt x="1580" y="53"/>
                    <a:pt x="1585" y="53"/>
                    <a:pt x="1590" y="53"/>
                  </a:cubicBezTo>
                  <a:cubicBezTo>
                    <a:pt x="1593" y="53"/>
                    <a:pt x="1593" y="53"/>
                    <a:pt x="1593" y="56"/>
                  </a:cubicBezTo>
                  <a:cubicBezTo>
                    <a:pt x="1593" y="56"/>
                    <a:pt x="1593" y="57"/>
                    <a:pt x="1593" y="57"/>
                  </a:cubicBezTo>
                  <a:cubicBezTo>
                    <a:pt x="1593" y="122"/>
                    <a:pt x="1593" y="186"/>
                    <a:pt x="1593" y="250"/>
                  </a:cubicBezTo>
                  <a:cubicBezTo>
                    <a:pt x="1593" y="256"/>
                    <a:pt x="1594" y="255"/>
                    <a:pt x="1588" y="255"/>
                  </a:cubicBezTo>
                  <a:cubicBezTo>
                    <a:pt x="1583" y="255"/>
                    <a:pt x="1578" y="255"/>
                    <a:pt x="1573" y="255"/>
                  </a:cubicBezTo>
                  <a:cubicBezTo>
                    <a:pt x="1571" y="255"/>
                    <a:pt x="1571" y="255"/>
                    <a:pt x="1571" y="253"/>
                  </a:cubicBezTo>
                  <a:cubicBezTo>
                    <a:pt x="1571" y="247"/>
                    <a:pt x="1571" y="242"/>
                    <a:pt x="1571" y="236"/>
                  </a:cubicBezTo>
                  <a:cubicBezTo>
                    <a:pt x="1571" y="235"/>
                    <a:pt x="1571" y="234"/>
                    <a:pt x="1571" y="233"/>
                  </a:cubicBezTo>
                  <a:cubicBezTo>
                    <a:pt x="1570" y="233"/>
                    <a:pt x="1569" y="234"/>
                    <a:pt x="1569" y="234"/>
                  </a:cubicBezTo>
                  <a:cubicBezTo>
                    <a:pt x="1559" y="250"/>
                    <a:pt x="1544" y="258"/>
                    <a:pt x="1525" y="258"/>
                  </a:cubicBezTo>
                  <a:cubicBezTo>
                    <a:pt x="1510" y="259"/>
                    <a:pt x="1496" y="255"/>
                    <a:pt x="1485" y="243"/>
                  </a:cubicBezTo>
                  <a:cubicBezTo>
                    <a:pt x="1479" y="237"/>
                    <a:pt x="1474" y="229"/>
                    <a:pt x="1471" y="220"/>
                  </a:cubicBezTo>
                  <a:cubicBezTo>
                    <a:pt x="1464" y="197"/>
                    <a:pt x="1465" y="174"/>
                    <a:pt x="1474" y="152"/>
                  </a:cubicBezTo>
                  <a:cubicBezTo>
                    <a:pt x="1480" y="137"/>
                    <a:pt x="1491" y="125"/>
                    <a:pt x="1506" y="119"/>
                  </a:cubicBezTo>
                  <a:cubicBezTo>
                    <a:pt x="1518" y="114"/>
                    <a:pt x="1531" y="114"/>
                    <a:pt x="1543" y="117"/>
                  </a:cubicBezTo>
                  <a:cubicBezTo>
                    <a:pt x="1554" y="119"/>
                    <a:pt x="1562" y="125"/>
                    <a:pt x="1568" y="134"/>
                  </a:cubicBezTo>
                  <a:cubicBezTo>
                    <a:pt x="1569" y="135"/>
                    <a:pt x="1570" y="135"/>
                    <a:pt x="1570" y="136"/>
                  </a:cubicBezTo>
                  <a:cubicBezTo>
                    <a:pt x="1570" y="136"/>
                    <a:pt x="1570" y="136"/>
                    <a:pt x="1571" y="137"/>
                  </a:cubicBezTo>
                  <a:close/>
                  <a:moveTo>
                    <a:pt x="1571" y="184"/>
                  </a:moveTo>
                  <a:cubicBezTo>
                    <a:pt x="1571" y="180"/>
                    <a:pt x="1571" y="176"/>
                    <a:pt x="1571" y="172"/>
                  </a:cubicBezTo>
                  <a:cubicBezTo>
                    <a:pt x="1571" y="167"/>
                    <a:pt x="1570" y="163"/>
                    <a:pt x="1568" y="158"/>
                  </a:cubicBezTo>
                  <a:cubicBezTo>
                    <a:pt x="1562" y="144"/>
                    <a:pt x="1552" y="135"/>
                    <a:pt x="1536" y="134"/>
                  </a:cubicBezTo>
                  <a:cubicBezTo>
                    <a:pt x="1520" y="132"/>
                    <a:pt x="1508" y="138"/>
                    <a:pt x="1499" y="152"/>
                  </a:cubicBezTo>
                  <a:cubicBezTo>
                    <a:pt x="1496" y="155"/>
                    <a:pt x="1494" y="159"/>
                    <a:pt x="1493" y="163"/>
                  </a:cubicBezTo>
                  <a:cubicBezTo>
                    <a:pt x="1489" y="175"/>
                    <a:pt x="1489" y="186"/>
                    <a:pt x="1490" y="198"/>
                  </a:cubicBezTo>
                  <a:cubicBezTo>
                    <a:pt x="1490" y="205"/>
                    <a:pt x="1492" y="212"/>
                    <a:pt x="1495" y="218"/>
                  </a:cubicBezTo>
                  <a:cubicBezTo>
                    <a:pt x="1508" y="244"/>
                    <a:pt x="1538" y="244"/>
                    <a:pt x="1553" y="232"/>
                  </a:cubicBezTo>
                  <a:cubicBezTo>
                    <a:pt x="1563" y="224"/>
                    <a:pt x="1568" y="214"/>
                    <a:pt x="1570" y="202"/>
                  </a:cubicBezTo>
                  <a:cubicBezTo>
                    <a:pt x="1571" y="196"/>
                    <a:pt x="1571" y="190"/>
                    <a:pt x="1571" y="184"/>
                  </a:cubicBezTo>
                  <a:close/>
                  <a:moveTo>
                    <a:pt x="417" y="67"/>
                  </a:moveTo>
                  <a:cubicBezTo>
                    <a:pt x="431" y="107"/>
                    <a:pt x="446" y="146"/>
                    <a:pt x="460" y="186"/>
                  </a:cubicBezTo>
                  <a:cubicBezTo>
                    <a:pt x="468" y="208"/>
                    <a:pt x="476" y="230"/>
                    <a:pt x="484" y="252"/>
                  </a:cubicBezTo>
                  <a:cubicBezTo>
                    <a:pt x="485" y="255"/>
                    <a:pt x="485" y="255"/>
                    <a:pt x="489" y="255"/>
                  </a:cubicBezTo>
                  <a:cubicBezTo>
                    <a:pt x="494" y="255"/>
                    <a:pt x="500" y="255"/>
                    <a:pt x="506" y="255"/>
                  </a:cubicBezTo>
                  <a:cubicBezTo>
                    <a:pt x="511" y="255"/>
                    <a:pt x="509" y="256"/>
                    <a:pt x="511" y="251"/>
                  </a:cubicBezTo>
                  <a:cubicBezTo>
                    <a:pt x="534" y="190"/>
                    <a:pt x="557" y="128"/>
                    <a:pt x="579" y="67"/>
                  </a:cubicBezTo>
                  <a:cubicBezTo>
                    <a:pt x="580" y="66"/>
                    <a:pt x="580" y="65"/>
                    <a:pt x="580" y="64"/>
                  </a:cubicBezTo>
                  <a:cubicBezTo>
                    <a:pt x="573" y="64"/>
                    <a:pt x="566" y="64"/>
                    <a:pt x="559" y="63"/>
                  </a:cubicBezTo>
                  <a:cubicBezTo>
                    <a:pt x="557" y="63"/>
                    <a:pt x="556" y="64"/>
                    <a:pt x="555" y="66"/>
                  </a:cubicBezTo>
                  <a:cubicBezTo>
                    <a:pt x="553" y="73"/>
                    <a:pt x="550" y="81"/>
                    <a:pt x="547" y="88"/>
                  </a:cubicBezTo>
                  <a:cubicBezTo>
                    <a:pt x="531" y="133"/>
                    <a:pt x="515" y="178"/>
                    <a:pt x="499" y="223"/>
                  </a:cubicBezTo>
                  <a:cubicBezTo>
                    <a:pt x="499" y="224"/>
                    <a:pt x="499" y="226"/>
                    <a:pt x="497" y="226"/>
                  </a:cubicBezTo>
                  <a:cubicBezTo>
                    <a:pt x="497" y="225"/>
                    <a:pt x="497" y="225"/>
                    <a:pt x="496" y="224"/>
                  </a:cubicBezTo>
                  <a:cubicBezTo>
                    <a:pt x="484" y="188"/>
                    <a:pt x="471" y="152"/>
                    <a:pt x="459" y="116"/>
                  </a:cubicBezTo>
                  <a:cubicBezTo>
                    <a:pt x="453" y="100"/>
                    <a:pt x="447" y="83"/>
                    <a:pt x="441" y="66"/>
                  </a:cubicBezTo>
                  <a:cubicBezTo>
                    <a:pt x="441" y="64"/>
                    <a:pt x="440" y="63"/>
                    <a:pt x="438" y="63"/>
                  </a:cubicBezTo>
                  <a:cubicBezTo>
                    <a:pt x="434" y="64"/>
                    <a:pt x="429" y="64"/>
                    <a:pt x="425" y="64"/>
                  </a:cubicBezTo>
                  <a:cubicBezTo>
                    <a:pt x="422" y="64"/>
                    <a:pt x="419" y="64"/>
                    <a:pt x="416" y="64"/>
                  </a:cubicBezTo>
                  <a:cubicBezTo>
                    <a:pt x="416" y="65"/>
                    <a:pt x="416" y="66"/>
                    <a:pt x="417" y="67"/>
                  </a:cubicBezTo>
                  <a:close/>
                  <a:moveTo>
                    <a:pt x="1117" y="246"/>
                  </a:moveTo>
                  <a:cubicBezTo>
                    <a:pt x="1117" y="247"/>
                    <a:pt x="1117" y="248"/>
                    <a:pt x="1118" y="249"/>
                  </a:cubicBezTo>
                  <a:cubicBezTo>
                    <a:pt x="1120" y="249"/>
                    <a:pt x="1121" y="250"/>
                    <a:pt x="1122" y="251"/>
                  </a:cubicBezTo>
                  <a:cubicBezTo>
                    <a:pt x="1129" y="253"/>
                    <a:pt x="1136" y="255"/>
                    <a:pt x="1143" y="257"/>
                  </a:cubicBezTo>
                  <a:cubicBezTo>
                    <a:pt x="1159" y="260"/>
                    <a:pt x="1175" y="259"/>
                    <a:pt x="1191" y="253"/>
                  </a:cubicBezTo>
                  <a:cubicBezTo>
                    <a:pt x="1216" y="244"/>
                    <a:pt x="1227" y="223"/>
                    <a:pt x="1222" y="197"/>
                  </a:cubicBezTo>
                  <a:cubicBezTo>
                    <a:pt x="1220" y="186"/>
                    <a:pt x="1214" y="177"/>
                    <a:pt x="1205" y="170"/>
                  </a:cubicBezTo>
                  <a:cubicBezTo>
                    <a:pt x="1199" y="164"/>
                    <a:pt x="1192" y="160"/>
                    <a:pt x="1185" y="156"/>
                  </a:cubicBezTo>
                  <a:cubicBezTo>
                    <a:pt x="1177" y="151"/>
                    <a:pt x="1169" y="147"/>
                    <a:pt x="1161" y="141"/>
                  </a:cubicBezTo>
                  <a:cubicBezTo>
                    <a:pt x="1157" y="139"/>
                    <a:pt x="1153" y="136"/>
                    <a:pt x="1149" y="132"/>
                  </a:cubicBezTo>
                  <a:cubicBezTo>
                    <a:pt x="1145" y="128"/>
                    <a:pt x="1142" y="123"/>
                    <a:pt x="1141" y="117"/>
                  </a:cubicBezTo>
                  <a:cubicBezTo>
                    <a:pt x="1140" y="113"/>
                    <a:pt x="1140" y="110"/>
                    <a:pt x="1141" y="106"/>
                  </a:cubicBezTo>
                  <a:cubicBezTo>
                    <a:pt x="1141" y="100"/>
                    <a:pt x="1143" y="95"/>
                    <a:pt x="1147" y="91"/>
                  </a:cubicBezTo>
                  <a:cubicBezTo>
                    <a:pt x="1152" y="86"/>
                    <a:pt x="1158" y="84"/>
                    <a:pt x="1164" y="82"/>
                  </a:cubicBezTo>
                  <a:cubicBezTo>
                    <a:pt x="1171" y="80"/>
                    <a:pt x="1178" y="80"/>
                    <a:pt x="1185" y="81"/>
                  </a:cubicBezTo>
                  <a:cubicBezTo>
                    <a:pt x="1195" y="82"/>
                    <a:pt x="1205" y="85"/>
                    <a:pt x="1213" y="91"/>
                  </a:cubicBezTo>
                  <a:cubicBezTo>
                    <a:pt x="1214" y="91"/>
                    <a:pt x="1214" y="92"/>
                    <a:pt x="1215" y="92"/>
                  </a:cubicBezTo>
                  <a:cubicBezTo>
                    <a:pt x="1215" y="91"/>
                    <a:pt x="1215" y="91"/>
                    <a:pt x="1215" y="91"/>
                  </a:cubicBezTo>
                  <a:cubicBezTo>
                    <a:pt x="1215" y="86"/>
                    <a:pt x="1215" y="81"/>
                    <a:pt x="1215" y="75"/>
                  </a:cubicBezTo>
                  <a:cubicBezTo>
                    <a:pt x="1215" y="73"/>
                    <a:pt x="1216" y="69"/>
                    <a:pt x="1215" y="67"/>
                  </a:cubicBezTo>
                  <a:cubicBezTo>
                    <a:pt x="1213" y="65"/>
                    <a:pt x="1209" y="64"/>
                    <a:pt x="1206" y="63"/>
                  </a:cubicBezTo>
                  <a:cubicBezTo>
                    <a:pt x="1196" y="61"/>
                    <a:pt x="1185" y="60"/>
                    <a:pt x="1175" y="60"/>
                  </a:cubicBezTo>
                  <a:cubicBezTo>
                    <a:pt x="1168" y="61"/>
                    <a:pt x="1161" y="61"/>
                    <a:pt x="1155" y="64"/>
                  </a:cubicBezTo>
                  <a:cubicBezTo>
                    <a:pt x="1134" y="70"/>
                    <a:pt x="1120" y="83"/>
                    <a:pt x="1117" y="106"/>
                  </a:cubicBezTo>
                  <a:cubicBezTo>
                    <a:pt x="1116" y="121"/>
                    <a:pt x="1119" y="134"/>
                    <a:pt x="1130" y="145"/>
                  </a:cubicBezTo>
                  <a:cubicBezTo>
                    <a:pt x="1135" y="150"/>
                    <a:pt x="1141" y="154"/>
                    <a:pt x="1147" y="159"/>
                  </a:cubicBezTo>
                  <a:cubicBezTo>
                    <a:pt x="1154" y="163"/>
                    <a:pt x="1162" y="167"/>
                    <a:pt x="1169" y="172"/>
                  </a:cubicBezTo>
                  <a:cubicBezTo>
                    <a:pt x="1176" y="176"/>
                    <a:pt x="1183" y="181"/>
                    <a:pt x="1189" y="186"/>
                  </a:cubicBezTo>
                  <a:cubicBezTo>
                    <a:pt x="1197" y="193"/>
                    <a:pt x="1200" y="202"/>
                    <a:pt x="1200" y="212"/>
                  </a:cubicBezTo>
                  <a:cubicBezTo>
                    <a:pt x="1199" y="224"/>
                    <a:pt x="1193" y="231"/>
                    <a:pt x="1182" y="235"/>
                  </a:cubicBezTo>
                  <a:cubicBezTo>
                    <a:pt x="1179" y="236"/>
                    <a:pt x="1177" y="237"/>
                    <a:pt x="1174" y="237"/>
                  </a:cubicBezTo>
                  <a:cubicBezTo>
                    <a:pt x="1161" y="239"/>
                    <a:pt x="1149" y="237"/>
                    <a:pt x="1137" y="233"/>
                  </a:cubicBezTo>
                  <a:cubicBezTo>
                    <a:pt x="1130" y="230"/>
                    <a:pt x="1123" y="226"/>
                    <a:pt x="1117" y="221"/>
                  </a:cubicBezTo>
                  <a:cubicBezTo>
                    <a:pt x="1117" y="230"/>
                    <a:pt x="1117" y="238"/>
                    <a:pt x="1117" y="246"/>
                  </a:cubicBezTo>
                  <a:close/>
                  <a:moveTo>
                    <a:pt x="973" y="234"/>
                  </a:moveTo>
                  <a:cubicBezTo>
                    <a:pt x="973" y="235"/>
                    <a:pt x="972" y="237"/>
                    <a:pt x="971" y="238"/>
                  </a:cubicBezTo>
                  <a:cubicBezTo>
                    <a:pt x="962" y="251"/>
                    <a:pt x="949" y="258"/>
                    <a:pt x="933" y="258"/>
                  </a:cubicBezTo>
                  <a:cubicBezTo>
                    <a:pt x="926" y="259"/>
                    <a:pt x="919" y="258"/>
                    <a:pt x="912" y="255"/>
                  </a:cubicBezTo>
                  <a:cubicBezTo>
                    <a:pt x="898" y="249"/>
                    <a:pt x="890" y="239"/>
                    <a:pt x="888" y="224"/>
                  </a:cubicBezTo>
                  <a:cubicBezTo>
                    <a:pt x="888" y="218"/>
                    <a:pt x="888" y="212"/>
                    <a:pt x="889" y="206"/>
                  </a:cubicBezTo>
                  <a:cubicBezTo>
                    <a:pt x="892" y="195"/>
                    <a:pt x="899" y="187"/>
                    <a:pt x="909" y="181"/>
                  </a:cubicBezTo>
                  <a:cubicBezTo>
                    <a:pt x="917" y="177"/>
                    <a:pt x="925" y="175"/>
                    <a:pt x="933" y="174"/>
                  </a:cubicBezTo>
                  <a:cubicBezTo>
                    <a:pt x="946" y="172"/>
                    <a:pt x="958" y="171"/>
                    <a:pt x="970" y="169"/>
                  </a:cubicBezTo>
                  <a:cubicBezTo>
                    <a:pt x="971" y="169"/>
                    <a:pt x="972" y="169"/>
                    <a:pt x="972" y="169"/>
                  </a:cubicBezTo>
                  <a:cubicBezTo>
                    <a:pt x="974" y="168"/>
                    <a:pt x="974" y="168"/>
                    <a:pt x="974" y="166"/>
                  </a:cubicBezTo>
                  <a:cubicBezTo>
                    <a:pt x="974" y="160"/>
                    <a:pt x="973" y="154"/>
                    <a:pt x="971" y="148"/>
                  </a:cubicBezTo>
                  <a:cubicBezTo>
                    <a:pt x="966" y="138"/>
                    <a:pt x="958" y="134"/>
                    <a:pt x="948" y="134"/>
                  </a:cubicBezTo>
                  <a:cubicBezTo>
                    <a:pt x="932" y="133"/>
                    <a:pt x="919" y="138"/>
                    <a:pt x="906" y="147"/>
                  </a:cubicBezTo>
                  <a:cubicBezTo>
                    <a:pt x="905" y="148"/>
                    <a:pt x="903" y="149"/>
                    <a:pt x="902" y="150"/>
                  </a:cubicBezTo>
                  <a:cubicBezTo>
                    <a:pt x="901" y="150"/>
                    <a:pt x="901" y="149"/>
                    <a:pt x="901" y="148"/>
                  </a:cubicBezTo>
                  <a:cubicBezTo>
                    <a:pt x="901" y="142"/>
                    <a:pt x="901" y="136"/>
                    <a:pt x="901" y="130"/>
                  </a:cubicBezTo>
                  <a:cubicBezTo>
                    <a:pt x="901" y="128"/>
                    <a:pt x="902" y="127"/>
                    <a:pt x="904" y="126"/>
                  </a:cubicBezTo>
                  <a:cubicBezTo>
                    <a:pt x="908" y="124"/>
                    <a:pt x="912" y="122"/>
                    <a:pt x="917" y="121"/>
                  </a:cubicBezTo>
                  <a:cubicBezTo>
                    <a:pt x="927" y="118"/>
                    <a:pt x="936" y="115"/>
                    <a:pt x="947" y="115"/>
                  </a:cubicBezTo>
                  <a:cubicBezTo>
                    <a:pt x="953" y="115"/>
                    <a:pt x="959" y="115"/>
                    <a:pt x="965" y="117"/>
                  </a:cubicBezTo>
                  <a:cubicBezTo>
                    <a:pt x="981" y="121"/>
                    <a:pt x="990" y="131"/>
                    <a:pt x="994" y="147"/>
                  </a:cubicBezTo>
                  <a:cubicBezTo>
                    <a:pt x="995" y="153"/>
                    <a:pt x="996" y="159"/>
                    <a:pt x="996" y="165"/>
                  </a:cubicBezTo>
                  <a:cubicBezTo>
                    <a:pt x="996" y="194"/>
                    <a:pt x="996" y="223"/>
                    <a:pt x="996" y="252"/>
                  </a:cubicBezTo>
                  <a:cubicBezTo>
                    <a:pt x="996" y="252"/>
                    <a:pt x="996" y="252"/>
                    <a:pt x="996" y="253"/>
                  </a:cubicBezTo>
                  <a:cubicBezTo>
                    <a:pt x="996" y="255"/>
                    <a:pt x="995" y="255"/>
                    <a:pt x="994" y="255"/>
                  </a:cubicBezTo>
                  <a:cubicBezTo>
                    <a:pt x="989" y="255"/>
                    <a:pt x="984" y="255"/>
                    <a:pt x="979" y="255"/>
                  </a:cubicBezTo>
                  <a:cubicBezTo>
                    <a:pt x="978" y="255"/>
                    <a:pt x="977" y="255"/>
                    <a:pt x="976" y="255"/>
                  </a:cubicBezTo>
                  <a:cubicBezTo>
                    <a:pt x="975" y="255"/>
                    <a:pt x="974" y="254"/>
                    <a:pt x="974" y="253"/>
                  </a:cubicBezTo>
                  <a:cubicBezTo>
                    <a:pt x="974" y="248"/>
                    <a:pt x="974" y="243"/>
                    <a:pt x="974" y="238"/>
                  </a:cubicBezTo>
                  <a:cubicBezTo>
                    <a:pt x="974" y="237"/>
                    <a:pt x="974" y="236"/>
                    <a:pt x="974" y="234"/>
                  </a:cubicBezTo>
                  <a:cubicBezTo>
                    <a:pt x="974" y="234"/>
                    <a:pt x="974" y="234"/>
                    <a:pt x="973" y="234"/>
                  </a:cubicBezTo>
                  <a:close/>
                  <a:moveTo>
                    <a:pt x="974" y="186"/>
                  </a:moveTo>
                  <a:cubicBezTo>
                    <a:pt x="973" y="186"/>
                    <a:pt x="973" y="186"/>
                    <a:pt x="972" y="186"/>
                  </a:cubicBezTo>
                  <a:cubicBezTo>
                    <a:pt x="960" y="188"/>
                    <a:pt x="949" y="189"/>
                    <a:pt x="937" y="191"/>
                  </a:cubicBezTo>
                  <a:cubicBezTo>
                    <a:pt x="931" y="192"/>
                    <a:pt x="926" y="194"/>
                    <a:pt x="921" y="196"/>
                  </a:cubicBezTo>
                  <a:cubicBezTo>
                    <a:pt x="916" y="199"/>
                    <a:pt x="913" y="203"/>
                    <a:pt x="911" y="209"/>
                  </a:cubicBezTo>
                  <a:cubicBezTo>
                    <a:pt x="911" y="210"/>
                    <a:pt x="911" y="212"/>
                    <a:pt x="911" y="213"/>
                  </a:cubicBezTo>
                  <a:cubicBezTo>
                    <a:pt x="909" y="226"/>
                    <a:pt x="916" y="236"/>
                    <a:pt x="928" y="239"/>
                  </a:cubicBezTo>
                  <a:cubicBezTo>
                    <a:pt x="946" y="243"/>
                    <a:pt x="963" y="235"/>
                    <a:pt x="971" y="217"/>
                  </a:cubicBezTo>
                  <a:cubicBezTo>
                    <a:pt x="975" y="207"/>
                    <a:pt x="974" y="197"/>
                    <a:pt x="974" y="186"/>
                  </a:cubicBezTo>
                  <a:close/>
                  <a:moveTo>
                    <a:pt x="1807" y="180"/>
                  </a:moveTo>
                  <a:cubicBezTo>
                    <a:pt x="1807" y="184"/>
                    <a:pt x="1807" y="188"/>
                    <a:pt x="1807" y="192"/>
                  </a:cubicBezTo>
                  <a:cubicBezTo>
                    <a:pt x="1807" y="200"/>
                    <a:pt x="1806" y="208"/>
                    <a:pt x="1803" y="216"/>
                  </a:cubicBezTo>
                  <a:cubicBezTo>
                    <a:pt x="1793" y="240"/>
                    <a:pt x="1776" y="255"/>
                    <a:pt x="1749" y="258"/>
                  </a:cubicBezTo>
                  <a:cubicBezTo>
                    <a:pt x="1738" y="259"/>
                    <a:pt x="1727" y="259"/>
                    <a:pt x="1717" y="255"/>
                  </a:cubicBezTo>
                  <a:cubicBezTo>
                    <a:pt x="1698" y="249"/>
                    <a:pt x="1685" y="237"/>
                    <a:pt x="1678" y="218"/>
                  </a:cubicBezTo>
                  <a:cubicBezTo>
                    <a:pt x="1670" y="196"/>
                    <a:pt x="1671" y="174"/>
                    <a:pt x="1680" y="153"/>
                  </a:cubicBezTo>
                  <a:cubicBezTo>
                    <a:pt x="1689" y="131"/>
                    <a:pt x="1706" y="119"/>
                    <a:pt x="1729" y="116"/>
                  </a:cubicBezTo>
                  <a:cubicBezTo>
                    <a:pt x="1740" y="114"/>
                    <a:pt x="1750" y="114"/>
                    <a:pt x="1761" y="117"/>
                  </a:cubicBezTo>
                  <a:cubicBezTo>
                    <a:pt x="1782" y="122"/>
                    <a:pt x="1796" y="135"/>
                    <a:pt x="1803" y="155"/>
                  </a:cubicBezTo>
                  <a:cubicBezTo>
                    <a:pt x="1806" y="164"/>
                    <a:pt x="1807" y="172"/>
                    <a:pt x="1807" y="180"/>
                  </a:cubicBezTo>
                  <a:close/>
                  <a:moveTo>
                    <a:pt x="1695" y="188"/>
                  </a:moveTo>
                  <a:cubicBezTo>
                    <a:pt x="1695" y="194"/>
                    <a:pt x="1696" y="201"/>
                    <a:pt x="1698" y="208"/>
                  </a:cubicBezTo>
                  <a:cubicBezTo>
                    <a:pt x="1702" y="221"/>
                    <a:pt x="1710" y="231"/>
                    <a:pt x="1722" y="236"/>
                  </a:cubicBezTo>
                  <a:cubicBezTo>
                    <a:pt x="1730" y="239"/>
                    <a:pt x="1738" y="240"/>
                    <a:pt x="1746" y="239"/>
                  </a:cubicBezTo>
                  <a:cubicBezTo>
                    <a:pt x="1763" y="238"/>
                    <a:pt x="1775" y="229"/>
                    <a:pt x="1781" y="213"/>
                  </a:cubicBezTo>
                  <a:cubicBezTo>
                    <a:pt x="1783" y="207"/>
                    <a:pt x="1784" y="201"/>
                    <a:pt x="1785" y="194"/>
                  </a:cubicBezTo>
                  <a:cubicBezTo>
                    <a:pt x="1785" y="182"/>
                    <a:pt x="1785" y="171"/>
                    <a:pt x="1781" y="160"/>
                  </a:cubicBezTo>
                  <a:cubicBezTo>
                    <a:pt x="1777" y="151"/>
                    <a:pt x="1771" y="143"/>
                    <a:pt x="1762" y="138"/>
                  </a:cubicBezTo>
                  <a:cubicBezTo>
                    <a:pt x="1754" y="134"/>
                    <a:pt x="1746" y="133"/>
                    <a:pt x="1737" y="134"/>
                  </a:cubicBezTo>
                  <a:cubicBezTo>
                    <a:pt x="1719" y="135"/>
                    <a:pt x="1705" y="145"/>
                    <a:pt x="1699" y="163"/>
                  </a:cubicBezTo>
                  <a:cubicBezTo>
                    <a:pt x="1696" y="171"/>
                    <a:pt x="1696" y="179"/>
                    <a:pt x="1695" y="188"/>
                  </a:cubicBezTo>
                  <a:close/>
                  <a:moveTo>
                    <a:pt x="1421" y="238"/>
                  </a:moveTo>
                  <a:cubicBezTo>
                    <a:pt x="1421" y="243"/>
                    <a:pt x="1421" y="248"/>
                    <a:pt x="1421" y="253"/>
                  </a:cubicBezTo>
                  <a:cubicBezTo>
                    <a:pt x="1421" y="254"/>
                    <a:pt x="1422" y="255"/>
                    <a:pt x="1423" y="255"/>
                  </a:cubicBezTo>
                  <a:cubicBezTo>
                    <a:pt x="1429" y="255"/>
                    <a:pt x="1435" y="255"/>
                    <a:pt x="1441" y="255"/>
                  </a:cubicBezTo>
                  <a:cubicBezTo>
                    <a:pt x="1442" y="255"/>
                    <a:pt x="1443" y="255"/>
                    <a:pt x="1443" y="253"/>
                  </a:cubicBezTo>
                  <a:cubicBezTo>
                    <a:pt x="1443" y="252"/>
                    <a:pt x="1443" y="252"/>
                    <a:pt x="1443" y="251"/>
                  </a:cubicBezTo>
                  <a:cubicBezTo>
                    <a:pt x="1443" y="208"/>
                    <a:pt x="1443" y="165"/>
                    <a:pt x="1443" y="122"/>
                  </a:cubicBezTo>
                  <a:cubicBezTo>
                    <a:pt x="1443" y="122"/>
                    <a:pt x="1443" y="121"/>
                    <a:pt x="1443" y="120"/>
                  </a:cubicBezTo>
                  <a:cubicBezTo>
                    <a:pt x="1443" y="119"/>
                    <a:pt x="1442" y="118"/>
                    <a:pt x="1441" y="118"/>
                  </a:cubicBezTo>
                  <a:cubicBezTo>
                    <a:pt x="1435" y="118"/>
                    <a:pt x="1429" y="118"/>
                    <a:pt x="1423" y="118"/>
                  </a:cubicBezTo>
                  <a:cubicBezTo>
                    <a:pt x="1421" y="118"/>
                    <a:pt x="1421" y="119"/>
                    <a:pt x="1421" y="121"/>
                  </a:cubicBezTo>
                  <a:cubicBezTo>
                    <a:pt x="1421" y="121"/>
                    <a:pt x="1421" y="122"/>
                    <a:pt x="1421" y="123"/>
                  </a:cubicBezTo>
                  <a:cubicBezTo>
                    <a:pt x="1421" y="147"/>
                    <a:pt x="1421" y="172"/>
                    <a:pt x="1421" y="196"/>
                  </a:cubicBezTo>
                  <a:cubicBezTo>
                    <a:pt x="1421" y="202"/>
                    <a:pt x="1420" y="208"/>
                    <a:pt x="1419" y="214"/>
                  </a:cubicBezTo>
                  <a:cubicBezTo>
                    <a:pt x="1412" y="233"/>
                    <a:pt x="1395" y="243"/>
                    <a:pt x="1375" y="239"/>
                  </a:cubicBezTo>
                  <a:cubicBezTo>
                    <a:pt x="1364" y="236"/>
                    <a:pt x="1357" y="228"/>
                    <a:pt x="1354" y="218"/>
                  </a:cubicBezTo>
                  <a:cubicBezTo>
                    <a:pt x="1352" y="210"/>
                    <a:pt x="1351" y="203"/>
                    <a:pt x="1351" y="196"/>
                  </a:cubicBezTo>
                  <a:cubicBezTo>
                    <a:pt x="1351" y="171"/>
                    <a:pt x="1351" y="147"/>
                    <a:pt x="1351" y="123"/>
                  </a:cubicBezTo>
                  <a:cubicBezTo>
                    <a:pt x="1351" y="122"/>
                    <a:pt x="1351" y="121"/>
                    <a:pt x="1351" y="120"/>
                  </a:cubicBezTo>
                  <a:cubicBezTo>
                    <a:pt x="1351" y="119"/>
                    <a:pt x="1351" y="118"/>
                    <a:pt x="1350" y="118"/>
                  </a:cubicBezTo>
                  <a:cubicBezTo>
                    <a:pt x="1344" y="118"/>
                    <a:pt x="1337" y="118"/>
                    <a:pt x="1331" y="118"/>
                  </a:cubicBezTo>
                  <a:cubicBezTo>
                    <a:pt x="1330" y="118"/>
                    <a:pt x="1329" y="119"/>
                    <a:pt x="1329" y="120"/>
                  </a:cubicBezTo>
                  <a:cubicBezTo>
                    <a:pt x="1329" y="120"/>
                    <a:pt x="1329" y="121"/>
                    <a:pt x="1329" y="122"/>
                  </a:cubicBezTo>
                  <a:cubicBezTo>
                    <a:pt x="1329" y="148"/>
                    <a:pt x="1329" y="174"/>
                    <a:pt x="1329" y="201"/>
                  </a:cubicBezTo>
                  <a:cubicBezTo>
                    <a:pt x="1329" y="210"/>
                    <a:pt x="1330" y="220"/>
                    <a:pt x="1334" y="229"/>
                  </a:cubicBezTo>
                  <a:cubicBezTo>
                    <a:pt x="1339" y="243"/>
                    <a:pt x="1348" y="253"/>
                    <a:pt x="1363" y="257"/>
                  </a:cubicBezTo>
                  <a:cubicBezTo>
                    <a:pt x="1370" y="258"/>
                    <a:pt x="1376" y="259"/>
                    <a:pt x="1383" y="258"/>
                  </a:cubicBezTo>
                  <a:cubicBezTo>
                    <a:pt x="1398" y="257"/>
                    <a:pt x="1409" y="251"/>
                    <a:pt x="1417" y="239"/>
                  </a:cubicBezTo>
                  <a:cubicBezTo>
                    <a:pt x="1418" y="237"/>
                    <a:pt x="1419" y="236"/>
                    <a:pt x="1421" y="234"/>
                  </a:cubicBezTo>
                  <a:cubicBezTo>
                    <a:pt x="1421" y="236"/>
                    <a:pt x="1421" y="237"/>
                    <a:pt x="1421" y="238"/>
                  </a:cubicBezTo>
                  <a:close/>
                  <a:moveTo>
                    <a:pt x="842" y="237"/>
                  </a:moveTo>
                  <a:cubicBezTo>
                    <a:pt x="842" y="242"/>
                    <a:pt x="842" y="247"/>
                    <a:pt x="842" y="251"/>
                  </a:cubicBezTo>
                  <a:cubicBezTo>
                    <a:pt x="842" y="255"/>
                    <a:pt x="842" y="255"/>
                    <a:pt x="846" y="255"/>
                  </a:cubicBezTo>
                  <a:cubicBezTo>
                    <a:pt x="851" y="255"/>
                    <a:pt x="856" y="255"/>
                    <a:pt x="860" y="255"/>
                  </a:cubicBezTo>
                  <a:cubicBezTo>
                    <a:pt x="865" y="255"/>
                    <a:pt x="864" y="256"/>
                    <a:pt x="864" y="251"/>
                  </a:cubicBezTo>
                  <a:cubicBezTo>
                    <a:pt x="864" y="208"/>
                    <a:pt x="864" y="165"/>
                    <a:pt x="864" y="123"/>
                  </a:cubicBezTo>
                  <a:cubicBezTo>
                    <a:pt x="864" y="122"/>
                    <a:pt x="864" y="121"/>
                    <a:pt x="864" y="120"/>
                  </a:cubicBezTo>
                  <a:cubicBezTo>
                    <a:pt x="865" y="119"/>
                    <a:pt x="864" y="118"/>
                    <a:pt x="862" y="118"/>
                  </a:cubicBezTo>
                  <a:cubicBezTo>
                    <a:pt x="857" y="118"/>
                    <a:pt x="851" y="118"/>
                    <a:pt x="846" y="118"/>
                  </a:cubicBezTo>
                  <a:cubicBezTo>
                    <a:pt x="842" y="118"/>
                    <a:pt x="842" y="118"/>
                    <a:pt x="842" y="122"/>
                  </a:cubicBezTo>
                  <a:cubicBezTo>
                    <a:pt x="842" y="122"/>
                    <a:pt x="842" y="123"/>
                    <a:pt x="842" y="123"/>
                  </a:cubicBezTo>
                  <a:cubicBezTo>
                    <a:pt x="842" y="147"/>
                    <a:pt x="842" y="171"/>
                    <a:pt x="842" y="195"/>
                  </a:cubicBezTo>
                  <a:cubicBezTo>
                    <a:pt x="842" y="200"/>
                    <a:pt x="842" y="206"/>
                    <a:pt x="841" y="211"/>
                  </a:cubicBezTo>
                  <a:cubicBezTo>
                    <a:pt x="836" y="232"/>
                    <a:pt x="818" y="243"/>
                    <a:pt x="797" y="239"/>
                  </a:cubicBezTo>
                  <a:cubicBezTo>
                    <a:pt x="787" y="236"/>
                    <a:pt x="780" y="230"/>
                    <a:pt x="776" y="220"/>
                  </a:cubicBezTo>
                  <a:cubicBezTo>
                    <a:pt x="774" y="213"/>
                    <a:pt x="773" y="205"/>
                    <a:pt x="773" y="198"/>
                  </a:cubicBezTo>
                  <a:cubicBezTo>
                    <a:pt x="773" y="182"/>
                    <a:pt x="773" y="166"/>
                    <a:pt x="773" y="151"/>
                  </a:cubicBezTo>
                  <a:cubicBezTo>
                    <a:pt x="773" y="141"/>
                    <a:pt x="773" y="131"/>
                    <a:pt x="773" y="121"/>
                  </a:cubicBezTo>
                  <a:cubicBezTo>
                    <a:pt x="773" y="118"/>
                    <a:pt x="773" y="118"/>
                    <a:pt x="770" y="118"/>
                  </a:cubicBezTo>
                  <a:cubicBezTo>
                    <a:pt x="765" y="118"/>
                    <a:pt x="759" y="118"/>
                    <a:pt x="754" y="118"/>
                  </a:cubicBezTo>
                  <a:cubicBezTo>
                    <a:pt x="751" y="118"/>
                    <a:pt x="751" y="118"/>
                    <a:pt x="751" y="121"/>
                  </a:cubicBezTo>
                  <a:cubicBezTo>
                    <a:pt x="751" y="149"/>
                    <a:pt x="751" y="176"/>
                    <a:pt x="751" y="203"/>
                  </a:cubicBezTo>
                  <a:cubicBezTo>
                    <a:pt x="751" y="212"/>
                    <a:pt x="752" y="221"/>
                    <a:pt x="755" y="229"/>
                  </a:cubicBezTo>
                  <a:cubicBezTo>
                    <a:pt x="760" y="245"/>
                    <a:pt x="771" y="254"/>
                    <a:pt x="787" y="257"/>
                  </a:cubicBezTo>
                  <a:cubicBezTo>
                    <a:pt x="793" y="258"/>
                    <a:pt x="798" y="259"/>
                    <a:pt x="804" y="258"/>
                  </a:cubicBezTo>
                  <a:cubicBezTo>
                    <a:pt x="818" y="257"/>
                    <a:pt x="829" y="252"/>
                    <a:pt x="837" y="241"/>
                  </a:cubicBezTo>
                  <a:cubicBezTo>
                    <a:pt x="839" y="239"/>
                    <a:pt x="840" y="237"/>
                    <a:pt x="842" y="234"/>
                  </a:cubicBezTo>
                  <a:cubicBezTo>
                    <a:pt x="843" y="235"/>
                    <a:pt x="842" y="236"/>
                    <a:pt x="842" y="237"/>
                  </a:cubicBezTo>
                  <a:close/>
                  <a:moveTo>
                    <a:pt x="647" y="248"/>
                  </a:moveTo>
                  <a:cubicBezTo>
                    <a:pt x="647" y="250"/>
                    <a:pt x="647" y="250"/>
                    <a:pt x="648" y="251"/>
                  </a:cubicBezTo>
                  <a:cubicBezTo>
                    <a:pt x="650" y="252"/>
                    <a:pt x="652" y="253"/>
                    <a:pt x="654" y="253"/>
                  </a:cubicBezTo>
                  <a:cubicBezTo>
                    <a:pt x="667" y="259"/>
                    <a:pt x="681" y="260"/>
                    <a:pt x="695" y="257"/>
                  </a:cubicBezTo>
                  <a:cubicBezTo>
                    <a:pt x="704" y="256"/>
                    <a:pt x="712" y="252"/>
                    <a:pt x="719" y="246"/>
                  </a:cubicBezTo>
                  <a:cubicBezTo>
                    <a:pt x="735" y="232"/>
                    <a:pt x="736" y="203"/>
                    <a:pt x="717" y="190"/>
                  </a:cubicBezTo>
                  <a:cubicBezTo>
                    <a:pt x="714" y="188"/>
                    <a:pt x="711" y="186"/>
                    <a:pt x="708" y="184"/>
                  </a:cubicBezTo>
                  <a:cubicBezTo>
                    <a:pt x="703" y="182"/>
                    <a:pt x="699" y="180"/>
                    <a:pt x="694" y="178"/>
                  </a:cubicBezTo>
                  <a:cubicBezTo>
                    <a:pt x="689" y="175"/>
                    <a:pt x="683" y="173"/>
                    <a:pt x="678" y="169"/>
                  </a:cubicBezTo>
                  <a:cubicBezTo>
                    <a:pt x="675" y="167"/>
                    <a:pt x="673" y="165"/>
                    <a:pt x="672" y="162"/>
                  </a:cubicBezTo>
                  <a:cubicBezTo>
                    <a:pt x="668" y="152"/>
                    <a:pt x="670" y="141"/>
                    <a:pt x="681" y="136"/>
                  </a:cubicBezTo>
                  <a:cubicBezTo>
                    <a:pt x="683" y="135"/>
                    <a:pt x="685" y="135"/>
                    <a:pt x="687" y="134"/>
                  </a:cubicBezTo>
                  <a:cubicBezTo>
                    <a:pt x="699" y="133"/>
                    <a:pt x="711" y="135"/>
                    <a:pt x="721" y="141"/>
                  </a:cubicBezTo>
                  <a:cubicBezTo>
                    <a:pt x="722" y="142"/>
                    <a:pt x="723" y="143"/>
                    <a:pt x="724" y="143"/>
                  </a:cubicBezTo>
                  <a:cubicBezTo>
                    <a:pt x="725" y="142"/>
                    <a:pt x="725" y="141"/>
                    <a:pt x="725" y="140"/>
                  </a:cubicBezTo>
                  <a:cubicBezTo>
                    <a:pt x="725" y="135"/>
                    <a:pt x="725" y="130"/>
                    <a:pt x="725" y="125"/>
                  </a:cubicBezTo>
                  <a:cubicBezTo>
                    <a:pt x="725" y="121"/>
                    <a:pt x="725" y="121"/>
                    <a:pt x="721" y="120"/>
                  </a:cubicBezTo>
                  <a:cubicBezTo>
                    <a:pt x="710" y="115"/>
                    <a:pt x="699" y="114"/>
                    <a:pt x="687" y="115"/>
                  </a:cubicBezTo>
                  <a:cubicBezTo>
                    <a:pt x="677" y="117"/>
                    <a:pt x="669" y="120"/>
                    <a:pt x="661" y="126"/>
                  </a:cubicBezTo>
                  <a:cubicBezTo>
                    <a:pt x="642" y="141"/>
                    <a:pt x="642" y="174"/>
                    <a:pt x="664" y="186"/>
                  </a:cubicBezTo>
                  <a:cubicBezTo>
                    <a:pt x="669" y="189"/>
                    <a:pt x="674" y="192"/>
                    <a:pt x="680" y="195"/>
                  </a:cubicBezTo>
                  <a:cubicBezTo>
                    <a:pt x="687" y="198"/>
                    <a:pt x="694" y="201"/>
                    <a:pt x="701" y="206"/>
                  </a:cubicBezTo>
                  <a:cubicBezTo>
                    <a:pt x="707" y="210"/>
                    <a:pt x="709" y="217"/>
                    <a:pt x="708" y="224"/>
                  </a:cubicBezTo>
                  <a:cubicBezTo>
                    <a:pt x="707" y="232"/>
                    <a:pt x="703" y="236"/>
                    <a:pt x="696" y="238"/>
                  </a:cubicBezTo>
                  <a:cubicBezTo>
                    <a:pt x="695" y="238"/>
                    <a:pt x="694" y="238"/>
                    <a:pt x="693" y="239"/>
                  </a:cubicBezTo>
                  <a:cubicBezTo>
                    <a:pt x="678" y="241"/>
                    <a:pt x="663" y="238"/>
                    <a:pt x="651" y="229"/>
                  </a:cubicBezTo>
                  <a:cubicBezTo>
                    <a:pt x="649" y="228"/>
                    <a:pt x="649" y="227"/>
                    <a:pt x="647" y="227"/>
                  </a:cubicBezTo>
                  <a:cubicBezTo>
                    <a:pt x="647" y="234"/>
                    <a:pt x="647" y="241"/>
                    <a:pt x="647" y="248"/>
                  </a:cubicBezTo>
                  <a:close/>
                  <a:moveTo>
                    <a:pt x="1275" y="78"/>
                  </a:moveTo>
                  <a:cubicBezTo>
                    <a:pt x="1269" y="80"/>
                    <a:pt x="1263" y="82"/>
                    <a:pt x="1257" y="84"/>
                  </a:cubicBezTo>
                  <a:cubicBezTo>
                    <a:pt x="1255" y="85"/>
                    <a:pt x="1255" y="86"/>
                    <a:pt x="1255" y="88"/>
                  </a:cubicBezTo>
                  <a:cubicBezTo>
                    <a:pt x="1255" y="97"/>
                    <a:pt x="1255" y="106"/>
                    <a:pt x="1255" y="114"/>
                  </a:cubicBezTo>
                  <a:cubicBezTo>
                    <a:pt x="1255" y="118"/>
                    <a:pt x="1255" y="118"/>
                    <a:pt x="1251" y="118"/>
                  </a:cubicBezTo>
                  <a:cubicBezTo>
                    <a:pt x="1245" y="118"/>
                    <a:pt x="1239" y="118"/>
                    <a:pt x="1234" y="118"/>
                  </a:cubicBezTo>
                  <a:cubicBezTo>
                    <a:pt x="1231" y="118"/>
                    <a:pt x="1231" y="118"/>
                    <a:pt x="1231" y="121"/>
                  </a:cubicBezTo>
                  <a:cubicBezTo>
                    <a:pt x="1231" y="125"/>
                    <a:pt x="1231" y="130"/>
                    <a:pt x="1231" y="134"/>
                  </a:cubicBezTo>
                  <a:cubicBezTo>
                    <a:pt x="1231" y="137"/>
                    <a:pt x="1231" y="137"/>
                    <a:pt x="1234" y="137"/>
                  </a:cubicBezTo>
                  <a:cubicBezTo>
                    <a:pt x="1239" y="137"/>
                    <a:pt x="1245" y="137"/>
                    <a:pt x="1250" y="137"/>
                  </a:cubicBezTo>
                  <a:cubicBezTo>
                    <a:pt x="1255" y="137"/>
                    <a:pt x="1255" y="137"/>
                    <a:pt x="1255" y="141"/>
                  </a:cubicBezTo>
                  <a:cubicBezTo>
                    <a:pt x="1255" y="167"/>
                    <a:pt x="1255" y="192"/>
                    <a:pt x="1255" y="217"/>
                  </a:cubicBezTo>
                  <a:cubicBezTo>
                    <a:pt x="1255" y="224"/>
                    <a:pt x="1255" y="230"/>
                    <a:pt x="1257" y="236"/>
                  </a:cubicBezTo>
                  <a:cubicBezTo>
                    <a:pt x="1260" y="245"/>
                    <a:pt x="1265" y="252"/>
                    <a:pt x="1274" y="255"/>
                  </a:cubicBezTo>
                  <a:cubicBezTo>
                    <a:pt x="1278" y="257"/>
                    <a:pt x="1282" y="258"/>
                    <a:pt x="1287" y="258"/>
                  </a:cubicBezTo>
                  <a:cubicBezTo>
                    <a:pt x="1294" y="259"/>
                    <a:pt x="1302" y="258"/>
                    <a:pt x="1309" y="255"/>
                  </a:cubicBezTo>
                  <a:cubicBezTo>
                    <a:pt x="1310" y="254"/>
                    <a:pt x="1311" y="253"/>
                    <a:pt x="1311" y="252"/>
                  </a:cubicBezTo>
                  <a:cubicBezTo>
                    <a:pt x="1311" y="249"/>
                    <a:pt x="1311" y="246"/>
                    <a:pt x="1311" y="243"/>
                  </a:cubicBezTo>
                  <a:cubicBezTo>
                    <a:pt x="1311" y="240"/>
                    <a:pt x="1311" y="238"/>
                    <a:pt x="1311" y="235"/>
                  </a:cubicBezTo>
                  <a:cubicBezTo>
                    <a:pt x="1303" y="239"/>
                    <a:pt x="1300" y="240"/>
                    <a:pt x="1294" y="239"/>
                  </a:cubicBezTo>
                  <a:cubicBezTo>
                    <a:pt x="1285" y="239"/>
                    <a:pt x="1280" y="234"/>
                    <a:pt x="1278" y="225"/>
                  </a:cubicBezTo>
                  <a:cubicBezTo>
                    <a:pt x="1277" y="221"/>
                    <a:pt x="1277" y="218"/>
                    <a:pt x="1277" y="214"/>
                  </a:cubicBezTo>
                  <a:cubicBezTo>
                    <a:pt x="1277" y="189"/>
                    <a:pt x="1277" y="165"/>
                    <a:pt x="1277" y="141"/>
                  </a:cubicBezTo>
                  <a:cubicBezTo>
                    <a:pt x="1277" y="140"/>
                    <a:pt x="1277" y="140"/>
                    <a:pt x="1277" y="139"/>
                  </a:cubicBezTo>
                  <a:cubicBezTo>
                    <a:pt x="1277" y="138"/>
                    <a:pt x="1277" y="137"/>
                    <a:pt x="1278" y="137"/>
                  </a:cubicBezTo>
                  <a:cubicBezTo>
                    <a:pt x="1279" y="137"/>
                    <a:pt x="1280" y="137"/>
                    <a:pt x="1281" y="137"/>
                  </a:cubicBezTo>
                  <a:cubicBezTo>
                    <a:pt x="1290" y="137"/>
                    <a:pt x="1299" y="137"/>
                    <a:pt x="1308" y="137"/>
                  </a:cubicBezTo>
                  <a:cubicBezTo>
                    <a:pt x="1311" y="137"/>
                    <a:pt x="1311" y="137"/>
                    <a:pt x="1311" y="134"/>
                  </a:cubicBezTo>
                  <a:cubicBezTo>
                    <a:pt x="1311" y="130"/>
                    <a:pt x="1311" y="125"/>
                    <a:pt x="1311" y="121"/>
                  </a:cubicBezTo>
                  <a:cubicBezTo>
                    <a:pt x="1311" y="118"/>
                    <a:pt x="1311" y="118"/>
                    <a:pt x="1308" y="118"/>
                  </a:cubicBezTo>
                  <a:cubicBezTo>
                    <a:pt x="1299" y="118"/>
                    <a:pt x="1291" y="118"/>
                    <a:pt x="1282" y="118"/>
                  </a:cubicBezTo>
                  <a:cubicBezTo>
                    <a:pt x="1277" y="118"/>
                    <a:pt x="1277" y="118"/>
                    <a:pt x="1277" y="113"/>
                  </a:cubicBezTo>
                  <a:cubicBezTo>
                    <a:pt x="1277" y="103"/>
                    <a:pt x="1277" y="92"/>
                    <a:pt x="1277" y="82"/>
                  </a:cubicBezTo>
                  <a:cubicBezTo>
                    <a:pt x="1277" y="81"/>
                    <a:pt x="1277" y="79"/>
                    <a:pt x="1276" y="78"/>
                  </a:cubicBezTo>
                  <a:cubicBezTo>
                    <a:pt x="1276" y="78"/>
                    <a:pt x="1275" y="78"/>
                    <a:pt x="1275" y="78"/>
                  </a:cubicBezTo>
                  <a:close/>
                  <a:moveTo>
                    <a:pt x="1028" y="192"/>
                  </a:moveTo>
                  <a:cubicBezTo>
                    <a:pt x="1028" y="212"/>
                    <a:pt x="1028" y="232"/>
                    <a:pt x="1028" y="252"/>
                  </a:cubicBezTo>
                  <a:cubicBezTo>
                    <a:pt x="1028" y="255"/>
                    <a:pt x="1028" y="255"/>
                    <a:pt x="1031" y="255"/>
                  </a:cubicBezTo>
                  <a:cubicBezTo>
                    <a:pt x="1036" y="255"/>
                    <a:pt x="1041" y="255"/>
                    <a:pt x="1046" y="255"/>
                  </a:cubicBezTo>
                  <a:cubicBezTo>
                    <a:pt x="1051" y="255"/>
                    <a:pt x="1050" y="256"/>
                    <a:pt x="1050" y="251"/>
                  </a:cubicBezTo>
                  <a:cubicBezTo>
                    <a:pt x="1050" y="186"/>
                    <a:pt x="1050" y="122"/>
                    <a:pt x="1050" y="57"/>
                  </a:cubicBezTo>
                  <a:cubicBezTo>
                    <a:pt x="1050" y="56"/>
                    <a:pt x="1050" y="55"/>
                    <a:pt x="1050" y="55"/>
                  </a:cubicBezTo>
                  <a:cubicBezTo>
                    <a:pt x="1050" y="53"/>
                    <a:pt x="1049" y="53"/>
                    <a:pt x="1048" y="53"/>
                  </a:cubicBezTo>
                  <a:cubicBezTo>
                    <a:pt x="1042" y="53"/>
                    <a:pt x="1036" y="53"/>
                    <a:pt x="1030" y="53"/>
                  </a:cubicBezTo>
                  <a:cubicBezTo>
                    <a:pt x="1029" y="53"/>
                    <a:pt x="1028" y="53"/>
                    <a:pt x="1028" y="55"/>
                  </a:cubicBezTo>
                  <a:cubicBezTo>
                    <a:pt x="1028" y="56"/>
                    <a:pt x="1028" y="57"/>
                    <a:pt x="1028" y="57"/>
                  </a:cubicBezTo>
                  <a:cubicBezTo>
                    <a:pt x="1028" y="89"/>
                    <a:pt x="1028" y="121"/>
                    <a:pt x="1028" y="154"/>
                  </a:cubicBezTo>
                  <a:cubicBezTo>
                    <a:pt x="1028" y="166"/>
                    <a:pt x="1028" y="179"/>
                    <a:pt x="1028" y="192"/>
                  </a:cubicBezTo>
                  <a:close/>
                  <a:moveTo>
                    <a:pt x="598" y="210"/>
                  </a:moveTo>
                  <a:cubicBezTo>
                    <a:pt x="598" y="224"/>
                    <a:pt x="598" y="238"/>
                    <a:pt x="598" y="252"/>
                  </a:cubicBezTo>
                  <a:cubicBezTo>
                    <a:pt x="598" y="255"/>
                    <a:pt x="598" y="255"/>
                    <a:pt x="601" y="255"/>
                  </a:cubicBezTo>
                  <a:cubicBezTo>
                    <a:pt x="606" y="255"/>
                    <a:pt x="611" y="255"/>
                    <a:pt x="616" y="255"/>
                  </a:cubicBezTo>
                  <a:cubicBezTo>
                    <a:pt x="621" y="255"/>
                    <a:pt x="620" y="256"/>
                    <a:pt x="620" y="251"/>
                  </a:cubicBezTo>
                  <a:cubicBezTo>
                    <a:pt x="620" y="208"/>
                    <a:pt x="620" y="165"/>
                    <a:pt x="620" y="123"/>
                  </a:cubicBezTo>
                  <a:cubicBezTo>
                    <a:pt x="620" y="122"/>
                    <a:pt x="620" y="121"/>
                    <a:pt x="620" y="120"/>
                  </a:cubicBezTo>
                  <a:cubicBezTo>
                    <a:pt x="620" y="119"/>
                    <a:pt x="619" y="118"/>
                    <a:pt x="618" y="118"/>
                  </a:cubicBezTo>
                  <a:cubicBezTo>
                    <a:pt x="612" y="118"/>
                    <a:pt x="606" y="118"/>
                    <a:pt x="600" y="118"/>
                  </a:cubicBezTo>
                  <a:cubicBezTo>
                    <a:pt x="599" y="118"/>
                    <a:pt x="598" y="119"/>
                    <a:pt x="598" y="121"/>
                  </a:cubicBezTo>
                  <a:cubicBezTo>
                    <a:pt x="598" y="121"/>
                    <a:pt x="598" y="122"/>
                    <a:pt x="598" y="123"/>
                  </a:cubicBezTo>
                  <a:cubicBezTo>
                    <a:pt x="598" y="144"/>
                    <a:pt x="598" y="165"/>
                    <a:pt x="598" y="186"/>
                  </a:cubicBezTo>
                  <a:cubicBezTo>
                    <a:pt x="598" y="194"/>
                    <a:pt x="598" y="202"/>
                    <a:pt x="598" y="210"/>
                  </a:cubicBezTo>
                  <a:close/>
                  <a:moveTo>
                    <a:pt x="1648" y="146"/>
                  </a:moveTo>
                  <a:cubicBezTo>
                    <a:pt x="1648" y="138"/>
                    <a:pt x="1648" y="130"/>
                    <a:pt x="1648" y="122"/>
                  </a:cubicBezTo>
                  <a:cubicBezTo>
                    <a:pt x="1648" y="118"/>
                    <a:pt x="1648" y="118"/>
                    <a:pt x="1644" y="118"/>
                  </a:cubicBezTo>
                  <a:cubicBezTo>
                    <a:pt x="1640" y="118"/>
                    <a:pt x="1635" y="118"/>
                    <a:pt x="1631" y="118"/>
                  </a:cubicBezTo>
                  <a:cubicBezTo>
                    <a:pt x="1626" y="118"/>
                    <a:pt x="1626" y="118"/>
                    <a:pt x="1626" y="123"/>
                  </a:cubicBezTo>
                  <a:cubicBezTo>
                    <a:pt x="1626" y="165"/>
                    <a:pt x="1626" y="208"/>
                    <a:pt x="1626" y="251"/>
                  </a:cubicBezTo>
                  <a:cubicBezTo>
                    <a:pt x="1626" y="251"/>
                    <a:pt x="1626" y="252"/>
                    <a:pt x="1626" y="253"/>
                  </a:cubicBezTo>
                  <a:cubicBezTo>
                    <a:pt x="1626" y="255"/>
                    <a:pt x="1627" y="255"/>
                    <a:pt x="1628" y="255"/>
                  </a:cubicBezTo>
                  <a:cubicBezTo>
                    <a:pt x="1634" y="255"/>
                    <a:pt x="1640" y="255"/>
                    <a:pt x="1646" y="255"/>
                  </a:cubicBezTo>
                  <a:cubicBezTo>
                    <a:pt x="1648" y="255"/>
                    <a:pt x="1648" y="254"/>
                    <a:pt x="1648" y="253"/>
                  </a:cubicBezTo>
                  <a:cubicBezTo>
                    <a:pt x="1648" y="252"/>
                    <a:pt x="1648" y="251"/>
                    <a:pt x="1648" y="250"/>
                  </a:cubicBezTo>
                  <a:cubicBezTo>
                    <a:pt x="1648" y="229"/>
                    <a:pt x="1648" y="208"/>
                    <a:pt x="1648" y="187"/>
                  </a:cubicBezTo>
                  <a:cubicBezTo>
                    <a:pt x="1648" y="173"/>
                    <a:pt x="1648" y="159"/>
                    <a:pt x="1648" y="146"/>
                  </a:cubicBezTo>
                  <a:close/>
                  <a:moveTo>
                    <a:pt x="624" y="73"/>
                  </a:moveTo>
                  <a:cubicBezTo>
                    <a:pt x="624" y="65"/>
                    <a:pt x="618" y="59"/>
                    <a:pt x="609" y="59"/>
                  </a:cubicBezTo>
                  <a:cubicBezTo>
                    <a:pt x="601" y="59"/>
                    <a:pt x="595" y="66"/>
                    <a:pt x="595" y="74"/>
                  </a:cubicBezTo>
                  <a:cubicBezTo>
                    <a:pt x="595" y="82"/>
                    <a:pt x="601" y="88"/>
                    <a:pt x="610" y="88"/>
                  </a:cubicBezTo>
                  <a:cubicBezTo>
                    <a:pt x="618" y="88"/>
                    <a:pt x="624" y="81"/>
                    <a:pt x="624" y="73"/>
                  </a:cubicBezTo>
                  <a:close/>
                  <a:moveTo>
                    <a:pt x="1651" y="74"/>
                  </a:moveTo>
                  <a:cubicBezTo>
                    <a:pt x="1651" y="66"/>
                    <a:pt x="1645" y="59"/>
                    <a:pt x="1636" y="59"/>
                  </a:cubicBezTo>
                  <a:cubicBezTo>
                    <a:pt x="1628" y="59"/>
                    <a:pt x="1622" y="65"/>
                    <a:pt x="1622" y="73"/>
                  </a:cubicBezTo>
                  <a:cubicBezTo>
                    <a:pt x="1622" y="82"/>
                    <a:pt x="1628" y="88"/>
                    <a:pt x="1636" y="88"/>
                  </a:cubicBezTo>
                  <a:cubicBezTo>
                    <a:pt x="1645" y="88"/>
                    <a:pt x="1651" y="82"/>
                    <a:pt x="1651" y="7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137521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145"/>
                                        </p:tgtEl>
                                        <p:attrNameLst>
                                          <p:attrName>style.visibility</p:attrName>
                                        </p:attrNameLst>
                                      </p:cBhvr>
                                      <p:to>
                                        <p:strVal val="visible"/>
                                      </p:to>
                                    </p:set>
                                    <p:anim calcmode="lin" valueType="num">
                                      <p:cBhvr additive="base">
                                        <p:cTn id="7" dur="750" fill="hold"/>
                                        <p:tgtEl>
                                          <p:spTgt spid="145"/>
                                        </p:tgtEl>
                                        <p:attrNameLst>
                                          <p:attrName>ppt_x</p:attrName>
                                        </p:attrNameLst>
                                      </p:cBhvr>
                                      <p:tavLst>
                                        <p:tav tm="0">
                                          <p:val>
                                            <p:strVal val="#ppt_x"/>
                                          </p:val>
                                        </p:tav>
                                        <p:tav tm="100000">
                                          <p:val>
                                            <p:strVal val="#ppt_x"/>
                                          </p:val>
                                        </p:tav>
                                      </p:tavLst>
                                    </p:anim>
                                    <p:anim calcmode="lin" valueType="num">
                                      <p:cBhvr additive="base">
                                        <p:cTn id="8" dur="750" fill="hold"/>
                                        <p:tgtEl>
                                          <p:spTgt spid="145"/>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3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1+#ppt_w/2"/>
                                          </p:val>
                                        </p:tav>
                                        <p:tav tm="100000">
                                          <p:val>
                                            <p:strVal val="#ppt_x"/>
                                          </p:val>
                                        </p:tav>
                                      </p:tavLst>
                                    </p:anim>
                                    <p:anim calcmode="lin" valueType="num">
                                      <p:cBhvr additive="base">
                                        <p:cTn id="12" dur="75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350"/>
                                  </p:stCondLst>
                                  <p:childTnLst>
                                    <p:set>
                                      <p:cBhvr>
                                        <p:cTn id="14" dur="1" fill="hold">
                                          <p:stCondLst>
                                            <p:cond delay="0"/>
                                          </p:stCondLst>
                                        </p:cTn>
                                        <p:tgtEl>
                                          <p:spTgt spid="105"/>
                                        </p:tgtEl>
                                        <p:attrNameLst>
                                          <p:attrName>style.visibility</p:attrName>
                                        </p:attrNameLst>
                                      </p:cBhvr>
                                      <p:to>
                                        <p:strVal val="visible"/>
                                      </p:to>
                                    </p:set>
                                    <p:anim calcmode="lin" valueType="num">
                                      <p:cBhvr additive="base">
                                        <p:cTn id="15" dur="750" fill="hold"/>
                                        <p:tgtEl>
                                          <p:spTgt spid="105"/>
                                        </p:tgtEl>
                                        <p:attrNameLst>
                                          <p:attrName>ppt_x</p:attrName>
                                        </p:attrNameLst>
                                      </p:cBhvr>
                                      <p:tavLst>
                                        <p:tav tm="0">
                                          <p:val>
                                            <p:strVal val="1+#ppt_w/2"/>
                                          </p:val>
                                        </p:tav>
                                        <p:tav tm="100000">
                                          <p:val>
                                            <p:strVal val="#ppt_x"/>
                                          </p:val>
                                        </p:tav>
                                      </p:tavLst>
                                    </p:anim>
                                    <p:anim calcmode="lin" valueType="num">
                                      <p:cBhvr additive="base">
                                        <p:cTn id="16" dur="750" fill="hold"/>
                                        <p:tgtEl>
                                          <p:spTgt spid="105"/>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1" presetClass="entr" presetSubtype="0"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childTnLst>
                                </p:cTn>
                              </p:par>
                            </p:childTnLst>
                          </p:cTn>
                        </p:par>
                        <p:par>
                          <p:cTn id="20" fill="hold">
                            <p:stCondLst>
                              <p:cond delay="1100"/>
                            </p:stCondLst>
                            <p:childTnLst>
                              <p:par>
                                <p:cTn id="21" presetID="1"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42" presetClass="path" presetSubtype="0" accel="50000" decel="50000" fill="hold" nodeType="withEffect">
                                  <p:stCondLst>
                                    <p:cond delay="0"/>
                                  </p:stCondLst>
                                  <p:childTnLst>
                                    <p:animMotion origin="layout" path="M 4.55451E-6 3.73128E-6 L 0.04544 -0.25761 " pathEditMode="relative" rAng="0" ptsTypes="AA">
                                      <p:cBhvr>
                                        <p:cTn id="24" dur="1000" fill="hold"/>
                                        <p:tgtEl>
                                          <p:spTgt spid="9"/>
                                        </p:tgtEl>
                                        <p:attrNameLst>
                                          <p:attrName>ppt_x</p:attrName>
                                          <p:attrName>ppt_y</p:attrName>
                                        </p:attrNameLst>
                                      </p:cBhvr>
                                      <p:rCtr x="2272" y="-12892"/>
                                    </p:animMotion>
                                  </p:childTnLst>
                                </p:cTn>
                              </p:par>
                              <p:par>
                                <p:cTn id="25" presetID="6" presetClass="emph" presetSubtype="0" decel="100000" fill="hold" nodeType="withEffect">
                                  <p:stCondLst>
                                    <p:cond delay="0"/>
                                  </p:stCondLst>
                                  <p:childTnLst>
                                    <p:animScale>
                                      <p:cBhvr>
                                        <p:cTn id="26" dur="1000" fill="hold"/>
                                        <p:tgtEl>
                                          <p:spTgt spid="9"/>
                                        </p:tgtEl>
                                      </p:cBhvr>
                                      <p:by x="55000" y="55000"/>
                                    </p:animScale>
                                  </p:childTnLst>
                                </p:cTn>
                              </p:par>
                              <p:par>
                                <p:cTn id="27" presetID="42" presetClass="path" presetSubtype="0" accel="50000" decel="50000" fill="hold" nodeType="withEffect">
                                  <p:stCondLst>
                                    <p:cond delay="0"/>
                                  </p:stCondLst>
                                  <p:childTnLst>
                                    <p:animMotion origin="layout" path="M 3.61501E-6 9.44167E-7 L -0.00805 -0.26555 " pathEditMode="relative" rAng="0" ptsTypes="AA">
                                      <p:cBhvr>
                                        <p:cTn id="28" dur="1000" fill="hold"/>
                                        <p:tgtEl>
                                          <p:spTgt spid="4"/>
                                        </p:tgtEl>
                                        <p:attrNameLst>
                                          <p:attrName>ppt_x</p:attrName>
                                          <p:attrName>ppt_y</p:attrName>
                                        </p:attrNameLst>
                                      </p:cBhvr>
                                      <p:rCtr x="-408" y="-13277"/>
                                    </p:animMotion>
                                  </p:childTnLst>
                                </p:cTn>
                              </p:par>
                              <p:par>
                                <p:cTn id="29" presetID="6" presetClass="emph" presetSubtype="0" decel="100000" fill="hold" nodeType="withEffect">
                                  <p:stCondLst>
                                    <p:cond delay="0"/>
                                  </p:stCondLst>
                                  <p:childTnLst>
                                    <p:animScale>
                                      <p:cBhvr>
                                        <p:cTn id="30" dur="1000" fill="hold"/>
                                        <p:tgtEl>
                                          <p:spTgt spid="4"/>
                                        </p:tgtEl>
                                      </p:cBhvr>
                                      <p:by x="50000" y="50000"/>
                                    </p:animScale>
                                  </p:childTnLst>
                                </p:cTn>
                              </p:par>
                            </p:childTnLst>
                          </p:cTn>
                        </p:par>
                        <p:par>
                          <p:cTn id="31" fill="hold">
                            <p:stCondLst>
                              <p:cond delay="2100"/>
                            </p:stCondLst>
                            <p:childTnLst>
                              <p:par>
                                <p:cTn id="32" presetID="2" presetClass="entr" presetSubtype="4" decel="100000" fill="hold" grpId="0" nodeType="afterEffect">
                                  <p:stCondLst>
                                    <p:cond delay="0"/>
                                  </p:stCondLst>
                                  <p:childTnLst>
                                    <p:set>
                                      <p:cBhvr>
                                        <p:cTn id="33" dur="1" fill="hold">
                                          <p:stCondLst>
                                            <p:cond delay="0"/>
                                          </p:stCondLst>
                                        </p:cTn>
                                        <p:tgtEl>
                                          <p:spTgt spid="149"/>
                                        </p:tgtEl>
                                        <p:attrNameLst>
                                          <p:attrName>style.visibility</p:attrName>
                                        </p:attrNameLst>
                                      </p:cBhvr>
                                      <p:to>
                                        <p:strVal val="visible"/>
                                      </p:to>
                                    </p:set>
                                    <p:anim calcmode="lin" valueType="num">
                                      <p:cBhvr additive="base">
                                        <p:cTn id="34" dur="500" fill="hold"/>
                                        <p:tgtEl>
                                          <p:spTgt spid="149"/>
                                        </p:tgtEl>
                                        <p:attrNameLst>
                                          <p:attrName>ppt_x</p:attrName>
                                        </p:attrNameLst>
                                      </p:cBhvr>
                                      <p:tavLst>
                                        <p:tav tm="0">
                                          <p:val>
                                            <p:strVal val="#ppt_x"/>
                                          </p:val>
                                        </p:tav>
                                        <p:tav tm="100000">
                                          <p:val>
                                            <p:strVal val="#ppt_x"/>
                                          </p:val>
                                        </p:tav>
                                      </p:tavLst>
                                    </p:anim>
                                    <p:anim calcmode="lin" valueType="num">
                                      <p:cBhvr additive="base">
                                        <p:cTn id="35" dur="500" fill="hold"/>
                                        <p:tgtEl>
                                          <p:spTgt spid="1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p:bldP spid="14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7191566" y="1858833"/>
            <a:ext cx="3450286" cy="1905991"/>
            <a:chOff x="6659010" y="1782633"/>
            <a:chExt cx="3450286" cy="1905991"/>
          </a:xfrm>
        </p:grpSpPr>
        <p:grpSp>
          <p:nvGrpSpPr>
            <p:cNvPr id="42" name="Group 41"/>
            <p:cNvGrpSpPr/>
            <p:nvPr/>
          </p:nvGrpSpPr>
          <p:grpSpPr>
            <a:xfrm>
              <a:off x="6659010" y="1782633"/>
              <a:ext cx="3450286" cy="1905991"/>
              <a:chOff x="6659010" y="1782633"/>
              <a:chExt cx="3450286" cy="1905991"/>
            </a:xfrm>
          </p:grpSpPr>
          <p:sp>
            <p:nvSpPr>
              <p:cNvPr id="89" name="Freeform 128"/>
              <p:cNvSpPr>
                <a:spLocks noChangeAspect="1"/>
              </p:cNvSpPr>
              <p:nvPr/>
            </p:nvSpPr>
            <p:spPr bwMode="black">
              <a:xfrm>
                <a:off x="6659010" y="1782633"/>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accent1"/>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
            <p:nvSpPr>
              <p:cNvPr id="23" name="Rectangle 22"/>
              <p:cNvSpPr/>
              <p:nvPr/>
            </p:nvSpPr>
            <p:spPr bwMode="auto">
              <a:xfrm>
                <a:off x="8195624" y="2647020"/>
                <a:ext cx="792246" cy="533774"/>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7" name="TextBox 136"/>
              <p:cNvSpPr txBox="1"/>
              <p:nvPr/>
            </p:nvSpPr>
            <p:spPr>
              <a:xfrm>
                <a:off x="8431709" y="2943573"/>
                <a:ext cx="745650" cy="166199"/>
              </a:xfrm>
              <a:prstGeom prst="rect">
                <a:avLst/>
              </a:prstGeom>
            </p:spPr>
            <p:txBody>
              <a:bodyPr wrap="square" lIns="0" tIns="0" rIns="0" bIns="0" rtlCol="0">
                <a:spAutoFit/>
              </a:bodyPr>
              <a:lstStyle/>
              <a:p>
                <a:pPr algn="ctr" defTabSz="1243038">
                  <a:lnSpc>
                    <a:spcPct val="90000"/>
                  </a:lnSpc>
                  <a:spcBef>
                    <a:spcPct val="20000"/>
                  </a:spcBef>
                  <a:buSzPct val="80000"/>
                </a:pPr>
                <a:r>
                  <a:rPr lang="en-US" sz="1200" dirty="0" smtClean="0">
                    <a:gradFill>
                      <a:gsLst>
                        <a:gs pos="21429">
                          <a:srgbClr val="002050"/>
                        </a:gs>
                        <a:gs pos="100000">
                          <a:srgbClr val="002050"/>
                        </a:gs>
                      </a:gsLst>
                      <a:lin ang="5400000" scaled="0"/>
                    </a:gradFill>
                  </a:rPr>
                  <a:t>SaaS apps</a:t>
                </a:r>
                <a:endParaRPr lang="en-US" sz="1200" dirty="0">
                  <a:gradFill>
                    <a:gsLst>
                      <a:gs pos="21429">
                        <a:srgbClr val="002050"/>
                      </a:gs>
                      <a:gs pos="100000">
                        <a:srgbClr val="002050"/>
                      </a:gs>
                    </a:gsLst>
                    <a:lin ang="5400000" scaled="0"/>
                  </a:gradFill>
                </a:endParaRPr>
              </a:p>
            </p:txBody>
          </p:sp>
        </p:grpSp>
        <p:grpSp>
          <p:nvGrpSpPr>
            <p:cNvPr id="124" name="Group 123"/>
            <p:cNvGrpSpPr/>
            <p:nvPr/>
          </p:nvGrpSpPr>
          <p:grpSpPr>
            <a:xfrm>
              <a:off x="8036113" y="2223492"/>
              <a:ext cx="1146761" cy="676304"/>
              <a:chOff x="5478037" y="4750764"/>
              <a:chExt cx="1146761" cy="676304"/>
            </a:xfrm>
          </p:grpSpPr>
          <p:sp>
            <p:nvSpPr>
              <p:cNvPr id="127" name="Rectangle 126"/>
              <p:cNvSpPr/>
              <p:nvPr/>
            </p:nvSpPr>
            <p:spPr bwMode="auto">
              <a:xfrm>
                <a:off x="5498905" y="4790095"/>
                <a:ext cx="714058" cy="47966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28" name="Group 127"/>
              <p:cNvGrpSpPr/>
              <p:nvPr/>
            </p:nvGrpSpPr>
            <p:grpSpPr>
              <a:xfrm>
                <a:off x="5478037" y="4750764"/>
                <a:ext cx="1146761" cy="676304"/>
                <a:chOff x="5478037" y="4750764"/>
                <a:chExt cx="1146761" cy="676304"/>
              </a:xfrm>
            </p:grpSpPr>
            <p:sp>
              <p:nvSpPr>
                <p:cNvPr id="129" name="Freeform 5"/>
                <p:cNvSpPr>
                  <a:spLocks noEditPoints="1"/>
                </p:cNvSpPr>
                <p:nvPr/>
              </p:nvSpPr>
              <p:spPr bwMode="auto">
                <a:xfrm>
                  <a:off x="5478037" y="4750764"/>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43" name="Picture 142"/>
                <p:cNvPicPr>
                  <a:picLocks noChangeAspect="1"/>
                </p:cNvPicPr>
                <p:nvPr/>
              </p:nvPicPr>
              <p:blipFill rotWithShape="1">
                <a:blip r:embed="rId3">
                  <a:extLst>
                    <a:ext uri="{28A0092B-C50C-407E-A947-70E740481C1C}">
                      <a14:useLocalDpi xmlns:a14="http://schemas.microsoft.com/office/drawing/2010/main" val="0"/>
                    </a:ext>
                  </a:extLst>
                </a:blip>
                <a:srcRect t="1475" b="1715"/>
                <a:stretch/>
              </p:blipFill>
              <p:spPr>
                <a:xfrm>
                  <a:off x="5554460" y="4810800"/>
                  <a:ext cx="425042" cy="411480"/>
                </a:xfrm>
                <a:prstGeom prst="rect">
                  <a:avLst/>
                </a:prstGeom>
              </p:spPr>
            </p:pic>
            <p:sp>
              <p:nvSpPr>
                <p:cNvPr id="144" name="Rectangle 143"/>
                <p:cNvSpPr/>
                <p:nvPr/>
              </p:nvSpPr>
              <p:spPr bwMode="auto">
                <a:xfrm>
                  <a:off x="5873633" y="4919334"/>
                  <a:ext cx="723548" cy="48748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45" name="Freeform 5"/>
                <p:cNvSpPr>
                  <a:spLocks noEditPoints="1"/>
                </p:cNvSpPr>
                <p:nvPr/>
              </p:nvSpPr>
              <p:spPr bwMode="auto">
                <a:xfrm>
                  <a:off x="5860291" y="489061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46" name="Picture 145"/>
                <p:cNvPicPr>
                  <a:picLocks noChangeAspect="1"/>
                </p:cNvPicPr>
                <p:nvPr/>
              </p:nvPicPr>
              <p:blipFill rotWithShape="1">
                <a:blip r:embed="rId3">
                  <a:extLst>
                    <a:ext uri="{28A0092B-C50C-407E-A947-70E740481C1C}">
                      <a14:useLocalDpi xmlns:a14="http://schemas.microsoft.com/office/drawing/2010/main" val="0"/>
                    </a:ext>
                  </a:extLst>
                </a:blip>
                <a:srcRect t="1475" b="1715"/>
                <a:stretch/>
              </p:blipFill>
              <p:spPr>
                <a:xfrm>
                  <a:off x="5933148" y="4955552"/>
                  <a:ext cx="425042" cy="411480"/>
                </a:xfrm>
                <a:prstGeom prst="rect">
                  <a:avLst/>
                </a:prstGeom>
              </p:spPr>
            </p:pic>
          </p:grpSp>
        </p:grpSp>
      </p:grpSp>
      <p:grpSp>
        <p:nvGrpSpPr>
          <p:cNvPr id="5" name="Group 4"/>
          <p:cNvGrpSpPr/>
          <p:nvPr/>
        </p:nvGrpSpPr>
        <p:grpSpPr>
          <a:xfrm>
            <a:off x="8880022" y="2811828"/>
            <a:ext cx="3450286" cy="1905991"/>
            <a:chOff x="8880022" y="2811828"/>
            <a:chExt cx="3450286" cy="1905991"/>
          </a:xfrm>
        </p:grpSpPr>
        <p:sp>
          <p:nvSpPr>
            <p:cNvPr id="90" name="Freeform 128"/>
            <p:cNvSpPr>
              <a:spLocks noChangeAspect="1"/>
            </p:cNvSpPr>
            <p:nvPr/>
          </p:nvSpPr>
          <p:spPr bwMode="black">
            <a:xfrm>
              <a:off x="8880022" y="2811828"/>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accent1"/>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pic>
          <p:nvPicPr>
            <p:cNvPr id="119" name="Picture 118" descr="Windows Azure Active Directory"/>
            <p:cNvPicPr/>
            <p:nvPr/>
          </p:nvPicPr>
          <p:blipFill>
            <a:blip r:embed="rId4">
              <a:extLst>
                <a:ext uri="{28A0092B-C50C-407E-A947-70E740481C1C}">
                  <a14:useLocalDpi xmlns:a14="http://schemas.microsoft.com/office/drawing/2010/main" val="0"/>
                </a:ext>
              </a:extLst>
            </a:blip>
            <a:srcRect/>
            <a:stretch>
              <a:fillRect/>
            </a:stretch>
          </p:blipFill>
          <p:spPr bwMode="auto">
            <a:xfrm>
              <a:off x="10727822" y="3409924"/>
              <a:ext cx="1168567" cy="1168567"/>
            </a:xfrm>
            <a:prstGeom prst="rect">
              <a:avLst/>
            </a:prstGeom>
            <a:noFill/>
            <a:ln>
              <a:noFill/>
            </a:ln>
          </p:spPr>
        </p:pic>
      </p:grpSp>
      <p:sp>
        <p:nvSpPr>
          <p:cNvPr id="3" name="Rectangle 2"/>
          <p:cNvSpPr/>
          <p:nvPr/>
        </p:nvSpPr>
        <p:spPr>
          <a:xfrm>
            <a:off x="281515" y="3088691"/>
            <a:ext cx="4011640" cy="1126462"/>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a:gradFill>
                  <a:gsLst>
                    <a:gs pos="3670">
                      <a:srgbClr val="505050"/>
                    </a:gs>
                    <a:gs pos="100000">
                      <a:srgbClr val="505050"/>
                    </a:gs>
                  </a:gsLst>
                  <a:lin ang="5400000" scaled="0"/>
                </a:gradFill>
              </a:rPr>
              <a:t>Centralized access administration for preintegrated SaaS apps and other Cloud-based apps.</a:t>
            </a:r>
          </a:p>
        </p:txBody>
      </p:sp>
      <p:sp>
        <p:nvSpPr>
          <p:cNvPr id="6" name="Rectangle 5"/>
          <p:cNvSpPr/>
          <p:nvPr/>
        </p:nvSpPr>
        <p:spPr>
          <a:xfrm>
            <a:off x="281514" y="4375178"/>
            <a:ext cx="4051830" cy="1126462"/>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Secure business processes with advanced </a:t>
            </a:r>
            <a:r>
              <a:rPr lang="en-US" sz="2000" spc="-90" dirty="0">
                <a:gradFill>
                  <a:gsLst>
                    <a:gs pos="3670">
                      <a:srgbClr val="505050"/>
                    </a:gs>
                    <a:gs pos="100000">
                      <a:srgbClr val="505050"/>
                    </a:gs>
                  </a:gsLst>
                  <a:lin ang="5400000" scaled="0"/>
                </a:gradFill>
              </a:rPr>
              <a:t>access </a:t>
            </a:r>
            <a:r>
              <a:rPr lang="en-US" sz="2000" spc="-90" dirty="0" smtClean="0">
                <a:gradFill>
                  <a:gsLst>
                    <a:gs pos="3670">
                      <a:srgbClr val="505050"/>
                    </a:gs>
                    <a:gs pos="100000">
                      <a:srgbClr val="505050"/>
                    </a:gs>
                  </a:gsLst>
                  <a:lin ang="5400000" scaled="0"/>
                </a:gradFill>
              </a:rPr>
              <a:t/>
            </a:r>
            <a:br>
              <a:rPr lang="en-US" sz="2000" spc="-90" dirty="0" smtClean="0">
                <a:gradFill>
                  <a:gsLst>
                    <a:gs pos="3670">
                      <a:srgbClr val="505050"/>
                    </a:gs>
                    <a:gs pos="100000">
                      <a:srgbClr val="505050"/>
                    </a:gs>
                  </a:gsLst>
                  <a:lin ang="5400000" scaled="0"/>
                </a:gradFill>
              </a:rPr>
            </a:br>
            <a:r>
              <a:rPr lang="en-US" sz="2000" spc="-90" dirty="0" smtClean="0">
                <a:gradFill>
                  <a:gsLst>
                    <a:gs pos="3670">
                      <a:srgbClr val="505050"/>
                    </a:gs>
                    <a:gs pos="100000">
                      <a:srgbClr val="505050"/>
                    </a:gs>
                  </a:gsLst>
                  <a:lin ang="5400000" scaled="0"/>
                </a:gradFill>
              </a:rPr>
              <a:t>management capabilities.</a:t>
            </a:r>
            <a:endParaRPr lang="en-US" sz="2000" spc="-90" dirty="0">
              <a:gradFill>
                <a:gsLst>
                  <a:gs pos="3670">
                    <a:srgbClr val="505050"/>
                  </a:gs>
                  <a:gs pos="100000">
                    <a:srgbClr val="505050"/>
                  </a:gs>
                </a:gsLst>
                <a:lin ang="5400000" scaled="0"/>
              </a:gradFill>
            </a:endParaRPr>
          </a:p>
        </p:txBody>
      </p:sp>
      <p:sp>
        <p:nvSpPr>
          <p:cNvPr id="16" name="Rectangle 15"/>
          <p:cNvSpPr/>
          <p:nvPr/>
        </p:nvSpPr>
        <p:spPr>
          <a:xfrm>
            <a:off x="281515" y="2128631"/>
            <a:ext cx="4051829"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Comprehensive identity </a:t>
            </a:r>
            <a:r>
              <a:rPr lang="en-US" sz="2000" spc="-90" dirty="0" smtClean="0">
                <a:gradFill>
                  <a:gsLst>
                    <a:gs pos="3670">
                      <a:srgbClr val="505050"/>
                    </a:gs>
                    <a:gs pos="100000">
                      <a:srgbClr val="505050"/>
                    </a:gs>
                  </a:gsLst>
                  <a:lin ang="5400000" scaled="0"/>
                </a:gradFill>
              </a:rPr>
              <a:t>and </a:t>
            </a:r>
            <a:br>
              <a:rPr lang="en-US" sz="2000" spc="-90" dirty="0" smtClean="0">
                <a:gradFill>
                  <a:gsLst>
                    <a:gs pos="3670">
                      <a:srgbClr val="505050"/>
                    </a:gs>
                    <a:gs pos="100000">
                      <a:srgbClr val="505050"/>
                    </a:gs>
                  </a:gsLst>
                  <a:lin ang="5400000" scaled="0"/>
                </a:gradFill>
              </a:rPr>
            </a:br>
            <a:r>
              <a:rPr lang="en-US" sz="2000" spc="-90" dirty="0" smtClean="0">
                <a:gradFill>
                  <a:gsLst>
                    <a:gs pos="3670">
                      <a:srgbClr val="505050"/>
                    </a:gs>
                    <a:gs pos="100000">
                      <a:srgbClr val="505050"/>
                    </a:gs>
                  </a:gsLst>
                  <a:lin ang="5400000" scaled="0"/>
                </a:gradFill>
              </a:rPr>
              <a:t>access </a:t>
            </a:r>
            <a:r>
              <a:rPr lang="en-US" sz="2000" spc="-90" dirty="0">
                <a:gradFill>
                  <a:gsLst>
                    <a:gs pos="3670">
                      <a:srgbClr val="505050"/>
                    </a:gs>
                    <a:gs pos="100000">
                      <a:srgbClr val="505050"/>
                    </a:gs>
                  </a:gsLst>
                  <a:lin ang="5400000" scaled="0"/>
                </a:gradFill>
              </a:rPr>
              <a:t>management </a:t>
            </a:r>
            <a:r>
              <a:rPr lang="en-US" sz="2000" spc="-90" dirty="0" smtClean="0">
                <a:gradFill>
                  <a:gsLst>
                    <a:gs pos="3670">
                      <a:srgbClr val="505050"/>
                    </a:gs>
                    <a:gs pos="100000">
                      <a:srgbClr val="505050"/>
                    </a:gs>
                  </a:gsLst>
                  <a:lin ang="5400000" scaled="0"/>
                </a:gradFill>
              </a:rPr>
              <a:t>console.</a:t>
            </a:r>
            <a:endParaRPr lang="en-US" sz="2000" spc="-90" dirty="0">
              <a:gradFill>
                <a:gsLst>
                  <a:gs pos="3670">
                    <a:srgbClr val="505050"/>
                  </a:gs>
                  <a:gs pos="100000">
                    <a:srgbClr val="505050"/>
                  </a:gs>
                </a:gsLst>
                <a:lin ang="5400000" scaled="0"/>
              </a:gradFill>
            </a:endParaRPr>
          </a:p>
        </p:txBody>
      </p:sp>
      <p:sp>
        <p:nvSpPr>
          <p:cNvPr id="11" name="Rectangle 10"/>
          <p:cNvSpPr/>
          <p:nvPr/>
        </p:nvSpPr>
        <p:spPr bwMode="auto">
          <a:xfrm>
            <a:off x="-6447" y="9706"/>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xfrm>
            <a:off x="274319" y="296898"/>
            <a:ext cx="12377975" cy="914365"/>
          </a:xfrm>
          <a:solidFill>
            <a:srgbClr val="FFFFFF"/>
          </a:solidFill>
        </p:spPr>
        <p:txBody>
          <a:bodyPr lIns="1920240"/>
          <a:lstStyle/>
          <a:p>
            <a:pPr>
              <a:lnSpc>
                <a:spcPct val="80000"/>
              </a:lnSpc>
            </a:pPr>
            <a:r>
              <a:rPr lang="en-US" sz="4000" dirty="0" smtClean="0">
                <a:gradFill>
                  <a:gsLst>
                    <a:gs pos="3670">
                      <a:schemeClr val="bg2"/>
                    </a:gs>
                    <a:gs pos="100000">
                      <a:schemeClr val="bg2"/>
                    </a:gs>
                  </a:gsLst>
                  <a:lin ang="5400000" scaled="0"/>
                </a:gradFill>
              </a:rPr>
              <a:t>Centrally managed identities and access</a:t>
            </a:r>
            <a:endParaRPr lang="en-US" sz="4000" dirty="0">
              <a:gradFill>
                <a:gsLst>
                  <a:gs pos="3670">
                    <a:schemeClr val="bg2"/>
                  </a:gs>
                  <a:gs pos="100000">
                    <a:schemeClr val="bg2"/>
                  </a:gs>
                </a:gsLst>
                <a:lin ang="5400000" scaled="0"/>
              </a:gradFill>
            </a:endParaRPr>
          </a:p>
        </p:txBody>
      </p:sp>
      <p:sp>
        <p:nvSpPr>
          <p:cNvPr id="31" name="TextBox 30"/>
          <p:cNvSpPr txBox="1"/>
          <p:nvPr/>
        </p:nvSpPr>
        <p:spPr>
          <a:xfrm>
            <a:off x="281515" y="2792467"/>
            <a:ext cx="3619944" cy="489365"/>
          </a:xfrm>
          <a:prstGeom prst="rect">
            <a:avLst/>
          </a:prstGeom>
          <a:noFill/>
        </p:spPr>
        <p:txBody>
          <a:bodyPr wrap="square" lIns="182880" tIns="146304" rIns="182880" bIns="146304" rtlCol="0">
            <a:spAutoFit/>
          </a:bodyPr>
          <a:lstStyle/>
          <a:p>
            <a:pPr defTabSz="932503">
              <a:lnSpc>
                <a:spcPct val="90000"/>
              </a:lnSpc>
            </a:pPr>
            <a:endParaRPr lang="en-US" sz="1400" spc="-50" dirty="0" smtClean="0">
              <a:gradFill>
                <a:gsLst>
                  <a:gs pos="2917">
                    <a:srgbClr val="505050"/>
                  </a:gs>
                  <a:gs pos="30000">
                    <a:srgbClr val="505050"/>
                  </a:gs>
                </a:gsLst>
                <a:lin ang="5400000" scaled="0"/>
              </a:gradFill>
            </a:endParaRPr>
          </a:p>
        </p:txBody>
      </p:sp>
      <p:sp>
        <p:nvSpPr>
          <p:cNvPr id="209" name="TextBox 208"/>
          <p:cNvSpPr txBox="1"/>
          <p:nvPr/>
        </p:nvSpPr>
        <p:spPr>
          <a:xfrm>
            <a:off x="281515" y="3726219"/>
            <a:ext cx="3619944" cy="489365"/>
          </a:xfrm>
          <a:prstGeom prst="rect">
            <a:avLst/>
          </a:prstGeom>
          <a:noFill/>
        </p:spPr>
        <p:txBody>
          <a:bodyPr wrap="square" lIns="182880" tIns="146304" rIns="182880" bIns="146304" rtlCol="0">
            <a:spAutoFit/>
          </a:bodyPr>
          <a:lstStyle/>
          <a:p>
            <a:pPr defTabSz="932503">
              <a:lnSpc>
                <a:spcPct val="90000"/>
              </a:lnSpc>
            </a:pPr>
            <a:endParaRPr lang="en-US" sz="1400" spc="-50" dirty="0" smtClean="0">
              <a:gradFill>
                <a:gsLst>
                  <a:gs pos="2917">
                    <a:srgbClr val="505050"/>
                  </a:gs>
                  <a:gs pos="30000">
                    <a:srgbClr val="505050"/>
                  </a:gs>
                </a:gsLst>
                <a:lin ang="5400000" scaled="0"/>
              </a:gradFill>
            </a:endParaRPr>
          </a:p>
        </p:txBody>
      </p:sp>
      <p:sp>
        <p:nvSpPr>
          <p:cNvPr id="210" name="TextBox 209"/>
          <p:cNvSpPr txBox="1"/>
          <p:nvPr/>
        </p:nvSpPr>
        <p:spPr>
          <a:xfrm>
            <a:off x="281515" y="5243616"/>
            <a:ext cx="3619944" cy="489365"/>
          </a:xfrm>
          <a:prstGeom prst="rect">
            <a:avLst/>
          </a:prstGeom>
          <a:noFill/>
        </p:spPr>
        <p:txBody>
          <a:bodyPr wrap="square" lIns="182880" tIns="146304" rIns="182880" bIns="146304" rtlCol="0">
            <a:spAutoFit/>
          </a:bodyPr>
          <a:lstStyle/>
          <a:p>
            <a:pPr defTabSz="932503">
              <a:lnSpc>
                <a:spcPct val="90000"/>
              </a:lnSpc>
            </a:pPr>
            <a:endParaRPr lang="en-US" sz="1400" spc="-50" dirty="0" smtClean="0">
              <a:gradFill>
                <a:gsLst>
                  <a:gs pos="2917">
                    <a:srgbClr val="505050"/>
                  </a:gs>
                  <a:gs pos="30000">
                    <a:srgbClr val="505050"/>
                  </a:gs>
                </a:gsLst>
                <a:lin ang="5400000" scaled="0"/>
              </a:gradFill>
            </a:endParaRPr>
          </a:p>
        </p:txBody>
      </p:sp>
      <p:sp>
        <p:nvSpPr>
          <p:cNvPr id="18" name="Rectangle 17"/>
          <p:cNvSpPr/>
          <p:nvPr/>
        </p:nvSpPr>
        <p:spPr bwMode="auto">
          <a:xfrm>
            <a:off x="0" y="5887453"/>
            <a:ext cx="12436475" cy="11070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9" name="Rectangle 38"/>
          <p:cNvSpPr/>
          <p:nvPr/>
        </p:nvSpPr>
        <p:spPr bwMode="auto">
          <a:xfrm>
            <a:off x="274638" y="5962812"/>
            <a:ext cx="11887200" cy="73485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noAutofit/>
          </a:bodyPr>
          <a:lstStyle/>
          <a:p>
            <a:pPr defTabSz="932290" fontAlgn="base">
              <a:lnSpc>
                <a:spcPct val="90000"/>
              </a:lnSpc>
              <a:spcBef>
                <a:spcPct val="0"/>
              </a:spcBef>
              <a:spcAft>
                <a:spcPct val="0"/>
              </a:spcAft>
            </a:pPr>
            <a:r>
              <a:rPr lang="en-US" sz="2300" spc="-90" dirty="0">
                <a:gradFill>
                  <a:gsLst>
                    <a:gs pos="18367">
                      <a:srgbClr val="505050"/>
                    </a:gs>
                    <a:gs pos="100000">
                      <a:srgbClr val="505050"/>
                    </a:gs>
                  </a:gsLst>
                  <a:lin ang="5400000" scaled="0"/>
                </a:gradFill>
              </a:rPr>
              <a:t>Your cloud apps ready when you are.</a:t>
            </a:r>
          </a:p>
        </p:txBody>
      </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5" name="TextBox 24"/>
          <p:cNvSpPr txBox="1"/>
          <p:nvPr/>
        </p:nvSpPr>
        <p:spPr>
          <a:xfrm>
            <a:off x="5452071" y="5465288"/>
            <a:ext cx="1534032" cy="489365"/>
          </a:xfrm>
          <a:prstGeom prst="rect">
            <a:avLst/>
          </a:prstGeom>
          <a:noFill/>
        </p:spPr>
        <p:txBody>
          <a:bodyPr wrap="square" lIns="182880" tIns="146304" rIns="182880" bIns="146304" rtlCol="0">
            <a:spAutoFit/>
          </a:bodyPr>
          <a:lstStyle/>
          <a:p>
            <a:pPr algn="ctr" defTabSz="932503">
              <a:lnSpc>
                <a:spcPct val="90000"/>
              </a:lnSpc>
            </a:pPr>
            <a:r>
              <a:rPr lang="en-US" sz="1400" spc="-50" dirty="0" smtClean="0">
                <a:gradFill>
                  <a:gsLst>
                    <a:gs pos="2917">
                      <a:srgbClr val="00188F"/>
                    </a:gs>
                    <a:gs pos="30000">
                      <a:srgbClr val="00188F"/>
                    </a:gs>
                  </a:gsLst>
                  <a:lin ang="5400000" scaled="0"/>
                </a:gradFill>
              </a:rPr>
              <a:t>IT professional</a:t>
            </a:r>
          </a:p>
        </p:txBody>
      </p:sp>
      <p:sp>
        <p:nvSpPr>
          <p:cNvPr id="130" name="Freeform 23"/>
          <p:cNvSpPr>
            <a:spLocks/>
          </p:cNvSpPr>
          <p:nvPr/>
        </p:nvSpPr>
        <p:spPr bwMode="auto">
          <a:xfrm>
            <a:off x="9261653" y="3842429"/>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36" name="Group 35"/>
          <p:cNvGrpSpPr/>
          <p:nvPr/>
        </p:nvGrpSpPr>
        <p:grpSpPr>
          <a:xfrm>
            <a:off x="9536529" y="4315112"/>
            <a:ext cx="334085" cy="334241"/>
            <a:chOff x="9171291" y="3235401"/>
            <a:chExt cx="192352" cy="192442"/>
          </a:xfrm>
        </p:grpSpPr>
        <p:sp>
          <p:nvSpPr>
            <p:cNvPr id="35" name="Oval 34"/>
            <p:cNvSpPr/>
            <p:nvPr/>
          </p:nvSpPr>
          <p:spPr bwMode="auto">
            <a:xfrm>
              <a:off x="9195964" y="3260119"/>
              <a:ext cx="143006" cy="14300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4" name="Freeform 13"/>
            <p:cNvSpPr>
              <a:spLocks noEditPoints="1"/>
            </p:cNvSpPr>
            <p:nvPr/>
          </p:nvSpPr>
          <p:spPr bwMode="auto">
            <a:xfrm>
              <a:off x="9171291" y="3235401"/>
              <a:ext cx="192352" cy="192442"/>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48" name="Freeform 23"/>
          <p:cNvSpPr>
            <a:spLocks/>
          </p:cNvSpPr>
          <p:nvPr/>
        </p:nvSpPr>
        <p:spPr bwMode="auto">
          <a:xfrm>
            <a:off x="7602351" y="2855346"/>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49" name="Group 148"/>
          <p:cNvGrpSpPr/>
          <p:nvPr/>
        </p:nvGrpSpPr>
        <p:grpSpPr>
          <a:xfrm>
            <a:off x="7563629" y="3328029"/>
            <a:ext cx="334085" cy="334241"/>
            <a:chOff x="9171291" y="3235401"/>
            <a:chExt cx="192352" cy="192442"/>
          </a:xfrm>
        </p:grpSpPr>
        <p:sp>
          <p:nvSpPr>
            <p:cNvPr id="150" name="Oval 149"/>
            <p:cNvSpPr/>
            <p:nvPr/>
          </p:nvSpPr>
          <p:spPr bwMode="auto">
            <a:xfrm>
              <a:off x="9195964" y="3260119"/>
              <a:ext cx="143006" cy="143006"/>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1" name="Freeform 13"/>
            <p:cNvSpPr>
              <a:spLocks noEditPoints="1"/>
            </p:cNvSpPr>
            <p:nvPr/>
          </p:nvSpPr>
          <p:spPr bwMode="auto">
            <a:xfrm>
              <a:off x="9171291" y="3235401"/>
              <a:ext cx="192352" cy="192442"/>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47" name="Group 46"/>
          <p:cNvGrpSpPr/>
          <p:nvPr/>
        </p:nvGrpSpPr>
        <p:grpSpPr>
          <a:xfrm>
            <a:off x="7559944" y="3320285"/>
            <a:ext cx="338272" cy="338272"/>
            <a:chOff x="6846836" y="2958888"/>
            <a:chExt cx="187908" cy="187908"/>
          </a:xfrm>
        </p:grpSpPr>
        <p:sp>
          <p:nvSpPr>
            <p:cNvPr id="46" name="Oval 45"/>
            <p:cNvSpPr/>
            <p:nvPr/>
          </p:nvSpPr>
          <p:spPr bwMode="auto">
            <a:xfrm>
              <a:off x="6846836" y="2958888"/>
              <a:ext cx="187908" cy="187908"/>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5" name="Freeform 17"/>
            <p:cNvSpPr>
              <a:spLocks noEditPoints="1"/>
            </p:cNvSpPr>
            <p:nvPr/>
          </p:nvSpPr>
          <p:spPr bwMode="auto">
            <a:xfrm>
              <a:off x="6846836" y="2958888"/>
              <a:ext cx="187908" cy="187908"/>
            </a:xfrm>
            <a:custGeom>
              <a:avLst/>
              <a:gdLst>
                <a:gd name="T0" fmla="*/ 952 w 1905"/>
                <a:gd name="T1" fmla="*/ 0 h 1904"/>
                <a:gd name="T2" fmla="*/ 0 w 1905"/>
                <a:gd name="T3" fmla="*/ 952 h 1904"/>
                <a:gd name="T4" fmla="*/ 952 w 1905"/>
                <a:gd name="T5" fmla="*/ 1904 h 1904"/>
                <a:gd name="T6" fmla="*/ 1905 w 1905"/>
                <a:gd name="T7" fmla="*/ 952 h 1904"/>
                <a:gd name="T8" fmla="*/ 952 w 1905"/>
                <a:gd name="T9" fmla="*/ 0 h 1904"/>
                <a:gd name="T10" fmla="*/ 1320 w 1905"/>
                <a:gd name="T11" fmla="*/ 1485 h 1904"/>
                <a:gd name="T12" fmla="*/ 952 w 1905"/>
                <a:gd name="T13" fmla="*/ 1112 h 1904"/>
                <a:gd name="T14" fmla="*/ 594 w 1905"/>
                <a:gd name="T15" fmla="*/ 1466 h 1904"/>
                <a:gd name="T16" fmla="*/ 439 w 1905"/>
                <a:gd name="T17" fmla="*/ 1310 h 1904"/>
                <a:gd name="T18" fmla="*/ 797 w 1905"/>
                <a:gd name="T19" fmla="*/ 957 h 1904"/>
                <a:gd name="T20" fmla="*/ 424 w 1905"/>
                <a:gd name="T21" fmla="*/ 584 h 1904"/>
                <a:gd name="T22" fmla="*/ 585 w 1905"/>
                <a:gd name="T23" fmla="*/ 424 h 1904"/>
                <a:gd name="T24" fmla="*/ 957 w 1905"/>
                <a:gd name="T25" fmla="*/ 792 h 1904"/>
                <a:gd name="T26" fmla="*/ 1320 w 1905"/>
                <a:gd name="T27" fmla="*/ 429 h 1904"/>
                <a:gd name="T28" fmla="*/ 1476 w 1905"/>
                <a:gd name="T29" fmla="*/ 584 h 1904"/>
                <a:gd name="T30" fmla="*/ 1113 w 1905"/>
                <a:gd name="T31" fmla="*/ 947 h 1904"/>
                <a:gd name="T32" fmla="*/ 1485 w 1905"/>
                <a:gd name="T33" fmla="*/ 1320 h 1904"/>
                <a:gd name="T34" fmla="*/ 1320 w 1905"/>
                <a:gd name="T35" fmla="*/ 1485 h 1904"/>
                <a:gd name="T36" fmla="*/ 1320 w 1905"/>
                <a:gd name="T37" fmla="*/ 148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5" h="1904">
                  <a:moveTo>
                    <a:pt x="952" y="0"/>
                  </a:moveTo>
                  <a:cubicBezTo>
                    <a:pt x="429" y="0"/>
                    <a:pt x="0" y="424"/>
                    <a:pt x="0" y="952"/>
                  </a:cubicBezTo>
                  <a:cubicBezTo>
                    <a:pt x="0" y="1475"/>
                    <a:pt x="429" y="1904"/>
                    <a:pt x="952" y="1904"/>
                  </a:cubicBezTo>
                  <a:cubicBezTo>
                    <a:pt x="1480" y="1904"/>
                    <a:pt x="1905" y="1475"/>
                    <a:pt x="1905" y="952"/>
                  </a:cubicBezTo>
                  <a:cubicBezTo>
                    <a:pt x="1905" y="424"/>
                    <a:pt x="1480" y="0"/>
                    <a:pt x="952" y="0"/>
                  </a:cubicBezTo>
                  <a:close/>
                  <a:moveTo>
                    <a:pt x="1320" y="1485"/>
                  </a:moveTo>
                  <a:cubicBezTo>
                    <a:pt x="952" y="1112"/>
                    <a:pt x="952" y="1112"/>
                    <a:pt x="952" y="1112"/>
                  </a:cubicBezTo>
                  <a:cubicBezTo>
                    <a:pt x="594" y="1466"/>
                    <a:pt x="594" y="1466"/>
                    <a:pt x="594" y="1466"/>
                  </a:cubicBezTo>
                  <a:cubicBezTo>
                    <a:pt x="439" y="1310"/>
                    <a:pt x="439" y="1310"/>
                    <a:pt x="439" y="1310"/>
                  </a:cubicBezTo>
                  <a:cubicBezTo>
                    <a:pt x="797" y="957"/>
                    <a:pt x="797" y="957"/>
                    <a:pt x="797" y="957"/>
                  </a:cubicBezTo>
                  <a:cubicBezTo>
                    <a:pt x="424" y="584"/>
                    <a:pt x="424" y="584"/>
                    <a:pt x="424" y="584"/>
                  </a:cubicBezTo>
                  <a:cubicBezTo>
                    <a:pt x="585" y="424"/>
                    <a:pt x="585" y="424"/>
                    <a:pt x="585" y="424"/>
                  </a:cubicBezTo>
                  <a:cubicBezTo>
                    <a:pt x="957" y="792"/>
                    <a:pt x="957" y="792"/>
                    <a:pt x="957" y="792"/>
                  </a:cubicBezTo>
                  <a:cubicBezTo>
                    <a:pt x="1320" y="429"/>
                    <a:pt x="1320" y="429"/>
                    <a:pt x="1320" y="429"/>
                  </a:cubicBezTo>
                  <a:cubicBezTo>
                    <a:pt x="1476" y="584"/>
                    <a:pt x="1476" y="584"/>
                    <a:pt x="1476" y="584"/>
                  </a:cubicBezTo>
                  <a:cubicBezTo>
                    <a:pt x="1113" y="947"/>
                    <a:pt x="1113" y="947"/>
                    <a:pt x="1113" y="947"/>
                  </a:cubicBezTo>
                  <a:cubicBezTo>
                    <a:pt x="1485" y="1320"/>
                    <a:pt x="1485" y="1320"/>
                    <a:pt x="1485" y="1320"/>
                  </a:cubicBezTo>
                  <a:cubicBezTo>
                    <a:pt x="1320" y="1485"/>
                    <a:pt x="1320" y="1485"/>
                    <a:pt x="1320" y="1485"/>
                  </a:cubicBezTo>
                  <a:cubicBezTo>
                    <a:pt x="1320" y="1485"/>
                    <a:pt x="1320" y="1485"/>
                    <a:pt x="1320" y="14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29" name="Freeform 28"/>
          <p:cNvSpPr/>
          <p:nvPr/>
        </p:nvSpPr>
        <p:spPr bwMode="auto">
          <a:xfrm>
            <a:off x="6952330" y="4340373"/>
            <a:ext cx="1839242" cy="330044"/>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bg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131" name="Freeform 130"/>
          <p:cNvSpPr/>
          <p:nvPr/>
        </p:nvSpPr>
        <p:spPr bwMode="auto">
          <a:xfrm flipH="1">
            <a:off x="7935917" y="3613687"/>
            <a:ext cx="1325736" cy="678097"/>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bg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147" name="Freeform 146"/>
          <p:cNvSpPr/>
          <p:nvPr/>
        </p:nvSpPr>
        <p:spPr bwMode="auto">
          <a:xfrm flipH="1">
            <a:off x="7935917" y="3613687"/>
            <a:ext cx="1330266" cy="674555"/>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40" name="Freeform 13"/>
          <p:cNvSpPr>
            <a:spLocks noEditPoints="1"/>
          </p:cNvSpPr>
          <p:nvPr/>
        </p:nvSpPr>
        <p:spPr bwMode="auto">
          <a:xfrm>
            <a:off x="5802982" y="4116688"/>
            <a:ext cx="921539" cy="1411044"/>
          </a:xfrm>
          <a:custGeom>
            <a:avLst/>
            <a:gdLst>
              <a:gd name="T0" fmla="*/ 748 w 1360"/>
              <a:gd name="T1" fmla="*/ 1276 h 2085"/>
              <a:gd name="T2" fmla="*/ 204 w 1360"/>
              <a:gd name="T3" fmla="*/ 1276 h 2085"/>
              <a:gd name="T4" fmla="*/ 561 w 1360"/>
              <a:gd name="T5" fmla="*/ 587 h 2085"/>
              <a:gd name="T6" fmla="*/ 680 w 1360"/>
              <a:gd name="T7" fmla="*/ 927 h 2085"/>
              <a:gd name="T8" fmla="*/ 748 w 1360"/>
              <a:gd name="T9" fmla="*/ 978 h 2085"/>
              <a:gd name="T10" fmla="*/ 1284 w 1360"/>
              <a:gd name="T11" fmla="*/ 978 h 2085"/>
              <a:gd name="T12" fmla="*/ 1360 w 1360"/>
              <a:gd name="T13" fmla="*/ 902 h 2085"/>
              <a:gd name="T14" fmla="*/ 1284 w 1360"/>
              <a:gd name="T15" fmla="*/ 834 h 2085"/>
              <a:gd name="T16" fmla="*/ 799 w 1360"/>
              <a:gd name="T17" fmla="*/ 834 h 2085"/>
              <a:gd name="T18" fmla="*/ 654 w 1360"/>
              <a:gd name="T19" fmla="*/ 425 h 2085"/>
              <a:gd name="T20" fmla="*/ 646 w 1360"/>
              <a:gd name="T21" fmla="*/ 417 h 2085"/>
              <a:gd name="T22" fmla="*/ 637 w 1360"/>
              <a:gd name="T23" fmla="*/ 400 h 2085"/>
              <a:gd name="T24" fmla="*/ 501 w 1360"/>
              <a:gd name="T25" fmla="*/ 383 h 2085"/>
              <a:gd name="T26" fmla="*/ 0 w 1360"/>
              <a:gd name="T27" fmla="*/ 1370 h 2085"/>
              <a:gd name="T28" fmla="*/ 34 w 1360"/>
              <a:gd name="T29" fmla="*/ 1438 h 2085"/>
              <a:gd name="T30" fmla="*/ 102 w 1360"/>
              <a:gd name="T31" fmla="*/ 1472 h 2085"/>
              <a:gd name="T32" fmla="*/ 654 w 1360"/>
              <a:gd name="T33" fmla="*/ 1472 h 2085"/>
              <a:gd name="T34" fmla="*/ 654 w 1360"/>
              <a:gd name="T35" fmla="*/ 1991 h 2085"/>
              <a:gd name="T36" fmla="*/ 748 w 1360"/>
              <a:gd name="T37" fmla="*/ 2085 h 2085"/>
              <a:gd name="T38" fmla="*/ 841 w 1360"/>
              <a:gd name="T39" fmla="*/ 1991 h 2085"/>
              <a:gd name="T40" fmla="*/ 841 w 1360"/>
              <a:gd name="T41" fmla="*/ 1370 h 2085"/>
              <a:gd name="T42" fmla="*/ 748 w 1360"/>
              <a:gd name="T43" fmla="*/ 1276 h 2085"/>
              <a:gd name="T44" fmla="*/ 841 w 1360"/>
              <a:gd name="T45" fmla="*/ 0 h 2085"/>
              <a:gd name="T46" fmla="*/ 1054 w 1360"/>
              <a:gd name="T47" fmla="*/ 213 h 2085"/>
              <a:gd name="T48" fmla="*/ 841 w 1360"/>
              <a:gd name="T49" fmla="*/ 425 h 2085"/>
              <a:gd name="T50" fmla="*/ 637 w 1360"/>
              <a:gd name="T51" fmla="*/ 213 h 2085"/>
              <a:gd name="T52" fmla="*/ 841 w 1360"/>
              <a:gd name="T53" fmla="*/ 0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0"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10" name="Group 109"/>
          <p:cNvGrpSpPr/>
          <p:nvPr/>
        </p:nvGrpSpPr>
        <p:grpSpPr>
          <a:xfrm>
            <a:off x="9537960" y="4316221"/>
            <a:ext cx="338272" cy="338272"/>
            <a:chOff x="6846836" y="2958888"/>
            <a:chExt cx="187908" cy="187908"/>
          </a:xfrm>
        </p:grpSpPr>
        <p:sp>
          <p:nvSpPr>
            <p:cNvPr id="111" name="Oval 110"/>
            <p:cNvSpPr/>
            <p:nvPr/>
          </p:nvSpPr>
          <p:spPr bwMode="auto">
            <a:xfrm>
              <a:off x="6846836" y="2958888"/>
              <a:ext cx="187908" cy="187908"/>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13" name="Freeform 17"/>
            <p:cNvSpPr>
              <a:spLocks noEditPoints="1"/>
            </p:cNvSpPr>
            <p:nvPr/>
          </p:nvSpPr>
          <p:spPr bwMode="auto">
            <a:xfrm>
              <a:off x="6846836" y="2958888"/>
              <a:ext cx="187908" cy="187908"/>
            </a:xfrm>
            <a:custGeom>
              <a:avLst/>
              <a:gdLst>
                <a:gd name="T0" fmla="*/ 952 w 1905"/>
                <a:gd name="T1" fmla="*/ 0 h 1904"/>
                <a:gd name="T2" fmla="*/ 0 w 1905"/>
                <a:gd name="T3" fmla="*/ 952 h 1904"/>
                <a:gd name="T4" fmla="*/ 952 w 1905"/>
                <a:gd name="T5" fmla="*/ 1904 h 1904"/>
                <a:gd name="T6" fmla="*/ 1905 w 1905"/>
                <a:gd name="T7" fmla="*/ 952 h 1904"/>
                <a:gd name="T8" fmla="*/ 952 w 1905"/>
                <a:gd name="T9" fmla="*/ 0 h 1904"/>
                <a:gd name="T10" fmla="*/ 1320 w 1905"/>
                <a:gd name="T11" fmla="*/ 1485 h 1904"/>
                <a:gd name="T12" fmla="*/ 952 w 1905"/>
                <a:gd name="T13" fmla="*/ 1112 h 1904"/>
                <a:gd name="T14" fmla="*/ 594 w 1905"/>
                <a:gd name="T15" fmla="*/ 1466 h 1904"/>
                <a:gd name="T16" fmla="*/ 439 w 1905"/>
                <a:gd name="T17" fmla="*/ 1310 h 1904"/>
                <a:gd name="T18" fmla="*/ 797 w 1905"/>
                <a:gd name="T19" fmla="*/ 957 h 1904"/>
                <a:gd name="T20" fmla="*/ 424 w 1905"/>
                <a:gd name="T21" fmla="*/ 584 h 1904"/>
                <a:gd name="T22" fmla="*/ 585 w 1905"/>
                <a:gd name="T23" fmla="*/ 424 h 1904"/>
                <a:gd name="T24" fmla="*/ 957 w 1905"/>
                <a:gd name="T25" fmla="*/ 792 h 1904"/>
                <a:gd name="T26" fmla="*/ 1320 w 1905"/>
                <a:gd name="T27" fmla="*/ 429 h 1904"/>
                <a:gd name="T28" fmla="*/ 1476 w 1905"/>
                <a:gd name="T29" fmla="*/ 584 h 1904"/>
                <a:gd name="T30" fmla="*/ 1113 w 1905"/>
                <a:gd name="T31" fmla="*/ 947 h 1904"/>
                <a:gd name="T32" fmla="*/ 1485 w 1905"/>
                <a:gd name="T33" fmla="*/ 1320 h 1904"/>
                <a:gd name="T34" fmla="*/ 1320 w 1905"/>
                <a:gd name="T35" fmla="*/ 1485 h 1904"/>
                <a:gd name="T36" fmla="*/ 1320 w 1905"/>
                <a:gd name="T37" fmla="*/ 148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5" h="1904">
                  <a:moveTo>
                    <a:pt x="952" y="0"/>
                  </a:moveTo>
                  <a:cubicBezTo>
                    <a:pt x="429" y="0"/>
                    <a:pt x="0" y="424"/>
                    <a:pt x="0" y="952"/>
                  </a:cubicBezTo>
                  <a:cubicBezTo>
                    <a:pt x="0" y="1475"/>
                    <a:pt x="429" y="1904"/>
                    <a:pt x="952" y="1904"/>
                  </a:cubicBezTo>
                  <a:cubicBezTo>
                    <a:pt x="1480" y="1904"/>
                    <a:pt x="1905" y="1475"/>
                    <a:pt x="1905" y="952"/>
                  </a:cubicBezTo>
                  <a:cubicBezTo>
                    <a:pt x="1905" y="424"/>
                    <a:pt x="1480" y="0"/>
                    <a:pt x="952" y="0"/>
                  </a:cubicBezTo>
                  <a:close/>
                  <a:moveTo>
                    <a:pt x="1320" y="1485"/>
                  </a:moveTo>
                  <a:cubicBezTo>
                    <a:pt x="952" y="1112"/>
                    <a:pt x="952" y="1112"/>
                    <a:pt x="952" y="1112"/>
                  </a:cubicBezTo>
                  <a:cubicBezTo>
                    <a:pt x="594" y="1466"/>
                    <a:pt x="594" y="1466"/>
                    <a:pt x="594" y="1466"/>
                  </a:cubicBezTo>
                  <a:cubicBezTo>
                    <a:pt x="439" y="1310"/>
                    <a:pt x="439" y="1310"/>
                    <a:pt x="439" y="1310"/>
                  </a:cubicBezTo>
                  <a:cubicBezTo>
                    <a:pt x="797" y="957"/>
                    <a:pt x="797" y="957"/>
                    <a:pt x="797" y="957"/>
                  </a:cubicBezTo>
                  <a:cubicBezTo>
                    <a:pt x="424" y="584"/>
                    <a:pt x="424" y="584"/>
                    <a:pt x="424" y="584"/>
                  </a:cubicBezTo>
                  <a:cubicBezTo>
                    <a:pt x="585" y="424"/>
                    <a:pt x="585" y="424"/>
                    <a:pt x="585" y="424"/>
                  </a:cubicBezTo>
                  <a:cubicBezTo>
                    <a:pt x="957" y="792"/>
                    <a:pt x="957" y="792"/>
                    <a:pt x="957" y="792"/>
                  </a:cubicBezTo>
                  <a:cubicBezTo>
                    <a:pt x="1320" y="429"/>
                    <a:pt x="1320" y="429"/>
                    <a:pt x="1320" y="429"/>
                  </a:cubicBezTo>
                  <a:cubicBezTo>
                    <a:pt x="1476" y="584"/>
                    <a:pt x="1476" y="584"/>
                    <a:pt x="1476" y="584"/>
                  </a:cubicBezTo>
                  <a:cubicBezTo>
                    <a:pt x="1113" y="947"/>
                    <a:pt x="1113" y="947"/>
                    <a:pt x="1113" y="947"/>
                  </a:cubicBezTo>
                  <a:cubicBezTo>
                    <a:pt x="1485" y="1320"/>
                    <a:pt x="1485" y="1320"/>
                    <a:pt x="1485" y="1320"/>
                  </a:cubicBezTo>
                  <a:cubicBezTo>
                    <a:pt x="1320" y="1485"/>
                    <a:pt x="1320" y="1485"/>
                    <a:pt x="1320" y="1485"/>
                  </a:cubicBezTo>
                  <a:cubicBezTo>
                    <a:pt x="1320" y="1485"/>
                    <a:pt x="1320" y="1485"/>
                    <a:pt x="1320" y="14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14" name="Freeform 113"/>
          <p:cNvSpPr/>
          <p:nvPr/>
        </p:nvSpPr>
        <p:spPr bwMode="auto">
          <a:xfrm>
            <a:off x="7046452" y="4335591"/>
            <a:ext cx="1742718" cy="304304"/>
          </a:xfrm>
          <a:custGeom>
            <a:avLst/>
            <a:gdLst>
              <a:gd name="connsiteX0" fmla="*/ 0 w 2466975"/>
              <a:gd name="connsiteY0" fmla="*/ 1533525 h 1533525"/>
              <a:gd name="connsiteX1" fmla="*/ 2466975 w 2466975"/>
              <a:gd name="connsiteY1" fmla="*/ 0 h 1533525"/>
            </a:gdLst>
            <a:ahLst/>
            <a:cxnLst>
              <a:cxn ang="0">
                <a:pos x="connsiteX0" y="connsiteY0"/>
              </a:cxn>
              <a:cxn ang="0">
                <a:pos x="connsiteX1" y="connsiteY1"/>
              </a:cxn>
            </a:cxnLst>
            <a:rect l="l" t="t" r="r" b="b"/>
            <a:pathLst>
              <a:path w="2466975" h="1533525">
                <a:moveTo>
                  <a:pt x="0" y="1533525"/>
                </a:moveTo>
                <a:lnTo>
                  <a:pt x="2466975"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30" name="Freeform 9"/>
          <p:cNvSpPr>
            <a:spLocks noEditPoints="1"/>
          </p:cNvSpPr>
          <p:nvPr/>
        </p:nvSpPr>
        <p:spPr bwMode="auto">
          <a:xfrm>
            <a:off x="6561766" y="4176143"/>
            <a:ext cx="593035" cy="705129"/>
          </a:xfrm>
          <a:custGeom>
            <a:avLst/>
            <a:gdLst>
              <a:gd name="T0" fmla="*/ 323 w 824"/>
              <a:gd name="T1" fmla="*/ 885 h 979"/>
              <a:gd name="T2" fmla="*/ 50 w 824"/>
              <a:gd name="T3" fmla="*/ 885 h 979"/>
              <a:gd name="T4" fmla="*/ 0 w 824"/>
              <a:gd name="T5" fmla="*/ 928 h 979"/>
              <a:gd name="T6" fmla="*/ 50 w 824"/>
              <a:gd name="T7" fmla="*/ 979 h 979"/>
              <a:gd name="T8" fmla="*/ 323 w 824"/>
              <a:gd name="T9" fmla="*/ 979 h 979"/>
              <a:gd name="T10" fmla="*/ 373 w 824"/>
              <a:gd name="T11" fmla="*/ 928 h 979"/>
              <a:gd name="T12" fmla="*/ 323 w 824"/>
              <a:gd name="T13" fmla="*/ 885 h 979"/>
              <a:gd name="T14" fmla="*/ 629 w 824"/>
              <a:gd name="T15" fmla="*/ 587 h 979"/>
              <a:gd name="T16" fmla="*/ 612 w 824"/>
              <a:gd name="T17" fmla="*/ 562 h 979"/>
              <a:gd name="T18" fmla="*/ 824 w 824"/>
              <a:gd name="T19" fmla="*/ 60 h 979"/>
              <a:gd name="T20" fmla="*/ 697 w 824"/>
              <a:gd name="T21" fmla="*/ 0 h 979"/>
              <a:gd name="T22" fmla="*/ 373 w 824"/>
              <a:gd name="T23" fmla="*/ 740 h 979"/>
              <a:gd name="T24" fmla="*/ 510 w 824"/>
              <a:gd name="T25" fmla="*/ 791 h 979"/>
              <a:gd name="T26" fmla="*/ 561 w 824"/>
              <a:gd name="T27" fmla="*/ 672 h 979"/>
              <a:gd name="T28" fmla="*/ 663 w 824"/>
              <a:gd name="T29" fmla="*/ 885 h 979"/>
              <a:gd name="T30" fmla="*/ 518 w 824"/>
              <a:gd name="T31" fmla="*/ 885 h 979"/>
              <a:gd name="T32" fmla="*/ 467 w 824"/>
              <a:gd name="T33" fmla="*/ 928 h 979"/>
              <a:gd name="T34" fmla="*/ 518 w 824"/>
              <a:gd name="T35" fmla="*/ 979 h 979"/>
              <a:gd name="T36" fmla="*/ 739 w 824"/>
              <a:gd name="T37" fmla="*/ 979 h 979"/>
              <a:gd name="T38" fmla="*/ 782 w 824"/>
              <a:gd name="T39" fmla="*/ 962 h 979"/>
              <a:gd name="T40" fmla="*/ 782 w 824"/>
              <a:gd name="T41" fmla="*/ 911 h 979"/>
              <a:gd name="T42" fmla="*/ 629 w 824"/>
              <a:gd name="T43" fmla="*/ 587 h 979"/>
              <a:gd name="T44" fmla="*/ 629 w 824"/>
              <a:gd name="T45" fmla="*/ 587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4" h="979">
                <a:moveTo>
                  <a:pt x="323" y="885"/>
                </a:moveTo>
                <a:cubicBezTo>
                  <a:pt x="50" y="885"/>
                  <a:pt x="50" y="885"/>
                  <a:pt x="50" y="885"/>
                </a:cubicBezTo>
                <a:cubicBezTo>
                  <a:pt x="25" y="885"/>
                  <a:pt x="0" y="902"/>
                  <a:pt x="0" y="928"/>
                </a:cubicBezTo>
                <a:cubicBezTo>
                  <a:pt x="0" y="962"/>
                  <a:pt x="25" y="979"/>
                  <a:pt x="50" y="979"/>
                </a:cubicBezTo>
                <a:cubicBezTo>
                  <a:pt x="323" y="979"/>
                  <a:pt x="323" y="979"/>
                  <a:pt x="323" y="979"/>
                </a:cubicBezTo>
                <a:cubicBezTo>
                  <a:pt x="348" y="979"/>
                  <a:pt x="373" y="962"/>
                  <a:pt x="373" y="928"/>
                </a:cubicBezTo>
                <a:cubicBezTo>
                  <a:pt x="373" y="902"/>
                  <a:pt x="348" y="885"/>
                  <a:pt x="323" y="885"/>
                </a:cubicBezTo>
                <a:close/>
                <a:moveTo>
                  <a:pt x="629" y="587"/>
                </a:moveTo>
                <a:cubicBezTo>
                  <a:pt x="620" y="579"/>
                  <a:pt x="620" y="570"/>
                  <a:pt x="612" y="562"/>
                </a:cubicBezTo>
                <a:cubicBezTo>
                  <a:pt x="824" y="60"/>
                  <a:pt x="824" y="60"/>
                  <a:pt x="824" y="60"/>
                </a:cubicBezTo>
                <a:cubicBezTo>
                  <a:pt x="697" y="0"/>
                  <a:pt x="697" y="0"/>
                  <a:pt x="697" y="0"/>
                </a:cubicBezTo>
                <a:cubicBezTo>
                  <a:pt x="373" y="740"/>
                  <a:pt x="373" y="740"/>
                  <a:pt x="373" y="740"/>
                </a:cubicBezTo>
                <a:cubicBezTo>
                  <a:pt x="510" y="791"/>
                  <a:pt x="510" y="791"/>
                  <a:pt x="510" y="791"/>
                </a:cubicBezTo>
                <a:cubicBezTo>
                  <a:pt x="561" y="672"/>
                  <a:pt x="561" y="672"/>
                  <a:pt x="561" y="672"/>
                </a:cubicBezTo>
                <a:cubicBezTo>
                  <a:pt x="663" y="885"/>
                  <a:pt x="663" y="885"/>
                  <a:pt x="663" y="885"/>
                </a:cubicBezTo>
                <a:cubicBezTo>
                  <a:pt x="518" y="885"/>
                  <a:pt x="518" y="885"/>
                  <a:pt x="518" y="885"/>
                </a:cubicBezTo>
                <a:cubicBezTo>
                  <a:pt x="493" y="885"/>
                  <a:pt x="467" y="902"/>
                  <a:pt x="467" y="928"/>
                </a:cubicBezTo>
                <a:cubicBezTo>
                  <a:pt x="467" y="962"/>
                  <a:pt x="493" y="979"/>
                  <a:pt x="518" y="979"/>
                </a:cubicBezTo>
                <a:cubicBezTo>
                  <a:pt x="739" y="979"/>
                  <a:pt x="739" y="979"/>
                  <a:pt x="739" y="979"/>
                </a:cubicBezTo>
                <a:cubicBezTo>
                  <a:pt x="756" y="979"/>
                  <a:pt x="773" y="970"/>
                  <a:pt x="782" y="962"/>
                </a:cubicBezTo>
                <a:cubicBezTo>
                  <a:pt x="790" y="945"/>
                  <a:pt x="790" y="928"/>
                  <a:pt x="782" y="911"/>
                </a:cubicBezTo>
                <a:cubicBezTo>
                  <a:pt x="629" y="587"/>
                  <a:pt x="629" y="587"/>
                  <a:pt x="629" y="587"/>
                </a:cubicBezTo>
                <a:cubicBezTo>
                  <a:pt x="629" y="587"/>
                  <a:pt x="629" y="587"/>
                  <a:pt x="629" y="58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7" name="Group 6"/>
          <p:cNvGrpSpPr/>
          <p:nvPr/>
        </p:nvGrpSpPr>
        <p:grpSpPr>
          <a:xfrm>
            <a:off x="215820" y="203177"/>
            <a:ext cx="1728216" cy="1728216"/>
            <a:chOff x="215820" y="203177"/>
            <a:chExt cx="1728216" cy="1728216"/>
          </a:xfrm>
        </p:grpSpPr>
        <p:sp>
          <p:nvSpPr>
            <p:cNvPr id="87" name="Oval 86"/>
            <p:cNvSpPr/>
            <p:nvPr/>
          </p:nvSpPr>
          <p:spPr bwMode="auto">
            <a:xfrm>
              <a:off x="215820" y="203177"/>
              <a:ext cx="1728216" cy="1728216"/>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8" name="Group 87"/>
            <p:cNvGrpSpPr/>
            <p:nvPr/>
          </p:nvGrpSpPr>
          <p:grpSpPr>
            <a:xfrm>
              <a:off x="356505" y="488309"/>
              <a:ext cx="1529636" cy="1092314"/>
              <a:chOff x="-3017861" y="-1537339"/>
              <a:chExt cx="5138742" cy="3669579"/>
            </a:xfrm>
          </p:grpSpPr>
          <p:grpSp>
            <p:nvGrpSpPr>
              <p:cNvPr id="95" name="Group 94"/>
              <p:cNvGrpSpPr/>
              <p:nvPr/>
            </p:nvGrpSpPr>
            <p:grpSpPr>
              <a:xfrm>
                <a:off x="-3017861" y="-1537339"/>
                <a:ext cx="3450286" cy="1905991"/>
                <a:chOff x="6659010" y="1782633"/>
                <a:chExt cx="3450286" cy="1905991"/>
              </a:xfrm>
            </p:grpSpPr>
            <p:sp>
              <p:nvSpPr>
                <p:cNvPr id="106" name="Freeform 128"/>
                <p:cNvSpPr>
                  <a:spLocks noChangeAspect="1"/>
                </p:cNvSpPr>
                <p:nvPr/>
              </p:nvSpPr>
              <p:spPr bwMode="black">
                <a:xfrm>
                  <a:off x="6659010" y="1782633"/>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07" name="Group 106"/>
                <p:cNvGrpSpPr/>
                <p:nvPr/>
              </p:nvGrpSpPr>
              <p:grpSpPr>
                <a:xfrm>
                  <a:off x="7762465" y="2462445"/>
                  <a:ext cx="1255641" cy="740516"/>
                  <a:chOff x="6422815" y="-1271054"/>
                  <a:chExt cx="1289286" cy="760358"/>
                </a:xfrm>
              </p:grpSpPr>
              <p:grpSp>
                <p:nvGrpSpPr>
                  <p:cNvPr id="109" name="Group 108"/>
                  <p:cNvGrpSpPr/>
                  <p:nvPr/>
                </p:nvGrpSpPr>
                <p:grpSpPr>
                  <a:xfrm>
                    <a:off x="6422815" y="-1271054"/>
                    <a:ext cx="859524" cy="603121"/>
                    <a:chOff x="2078177" y="483467"/>
                    <a:chExt cx="8823325" cy="6191250"/>
                  </a:xfrm>
                  <a:solidFill>
                    <a:schemeClr val="tx2"/>
                  </a:solidFill>
                </p:grpSpPr>
                <p:sp>
                  <p:nvSpPr>
                    <p:cNvPr id="123"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5"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6"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32"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33"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112" name="Rectangle 111"/>
                  <p:cNvSpPr/>
                  <p:nvPr/>
                </p:nvSpPr>
                <p:spPr bwMode="auto">
                  <a:xfrm>
                    <a:off x="6867578" y="-1081533"/>
                    <a:ext cx="813474" cy="54807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15" name="Group 114"/>
                  <p:cNvGrpSpPr/>
                  <p:nvPr/>
                </p:nvGrpSpPr>
                <p:grpSpPr>
                  <a:xfrm>
                    <a:off x="6852577" y="-1113817"/>
                    <a:ext cx="859524" cy="603121"/>
                    <a:chOff x="2078177" y="483467"/>
                    <a:chExt cx="8823325" cy="6191250"/>
                  </a:xfrm>
                  <a:solidFill>
                    <a:schemeClr val="tx2"/>
                  </a:solidFill>
                </p:grpSpPr>
                <p:sp>
                  <p:nvSpPr>
                    <p:cNvPr id="116" name="Freeform 5"/>
                    <p:cNvSpPr>
                      <a:spLocks noEditPoints="1"/>
                    </p:cNvSpPr>
                    <p:nvPr/>
                  </p:nvSpPr>
                  <p:spPr bwMode="auto">
                    <a:xfrm>
                      <a:off x="2078177" y="483467"/>
                      <a:ext cx="8823325" cy="6191250"/>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8" name="Freeform 6"/>
                    <p:cNvSpPr>
                      <a:spLocks/>
                    </p:cNvSpPr>
                    <p:nvPr/>
                  </p:nvSpPr>
                  <p:spPr bwMode="auto">
                    <a:xfrm>
                      <a:off x="2900363" y="1382713"/>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0" name="Freeform 7"/>
                    <p:cNvSpPr>
                      <a:spLocks/>
                    </p:cNvSpPr>
                    <p:nvPr/>
                  </p:nvSpPr>
                  <p:spPr bwMode="auto">
                    <a:xfrm>
                      <a:off x="4440238" y="1382713"/>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1" name="Freeform 8"/>
                    <p:cNvSpPr>
                      <a:spLocks/>
                    </p:cNvSpPr>
                    <p:nvPr/>
                  </p:nvSpPr>
                  <p:spPr bwMode="auto">
                    <a:xfrm>
                      <a:off x="4440238" y="2952751"/>
                      <a:ext cx="1235075" cy="1231900"/>
                    </a:xfrm>
                    <a:custGeom>
                      <a:avLst/>
                      <a:gdLst>
                        <a:gd name="T0" fmla="*/ 0 w 778"/>
                        <a:gd name="T1" fmla="*/ 0 h 776"/>
                        <a:gd name="T2" fmla="*/ 778 w 778"/>
                        <a:gd name="T3" fmla="*/ 0 h 776"/>
                        <a:gd name="T4" fmla="*/ 778 w 778"/>
                        <a:gd name="T5" fmla="*/ 776 h 776"/>
                        <a:gd name="T6" fmla="*/ 0 w 778"/>
                        <a:gd name="T7" fmla="*/ 776 h 776"/>
                        <a:gd name="T8" fmla="*/ 0 w 778"/>
                        <a:gd name="T9" fmla="*/ 0 h 776"/>
                        <a:gd name="T10" fmla="*/ 0 w 778"/>
                        <a:gd name="T11" fmla="*/ 0 h 776"/>
                      </a:gdLst>
                      <a:ahLst/>
                      <a:cxnLst>
                        <a:cxn ang="0">
                          <a:pos x="T0" y="T1"/>
                        </a:cxn>
                        <a:cxn ang="0">
                          <a:pos x="T2" y="T3"/>
                        </a:cxn>
                        <a:cxn ang="0">
                          <a:pos x="T4" y="T5"/>
                        </a:cxn>
                        <a:cxn ang="0">
                          <a:pos x="T6" y="T7"/>
                        </a:cxn>
                        <a:cxn ang="0">
                          <a:pos x="T8" y="T9"/>
                        </a:cxn>
                        <a:cxn ang="0">
                          <a:pos x="T10" y="T11"/>
                        </a:cxn>
                      </a:cxnLst>
                      <a:rect l="0" t="0" r="r" b="b"/>
                      <a:pathLst>
                        <a:path w="778" h="776">
                          <a:moveTo>
                            <a:pt x="0" y="0"/>
                          </a:moveTo>
                          <a:lnTo>
                            <a:pt x="778" y="0"/>
                          </a:lnTo>
                          <a:lnTo>
                            <a:pt x="778"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2" name="Freeform 9"/>
                    <p:cNvSpPr>
                      <a:spLocks/>
                    </p:cNvSpPr>
                    <p:nvPr/>
                  </p:nvSpPr>
                  <p:spPr bwMode="auto">
                    <a:xfrm>
                      <a:off x="2900363" y="2952751"/>
                      <a:ext cx="1231900" cy="1231900"/>
                    </a:xfrm>
                    <a:custGeom>
                      <a:avLst/>
                      <a:gdLst>
                        <a:gd name="T0" fmla="*/ 0 w 776"/>
                        <a:gd name="T1" fmla="*/ 0 h 776"/>
                        <a:gd name="T2" fmla="*/ 776 w 776"/>
                        <a:gd name="T3" fmla="*/ 0 h 776"/>
                        <a:gd name="T4" fmla="*/ 776 w 776"/>
                        <a:gd name="T5" fmla="*/ 776 h 776"/>
                        <a:gd name="T6" fmla="*/ 0 w 776"/>
                        <a:gd name="T7" fmla="*/ 776 h 776"/>
                        <a:gd name="T8" fmla="*/ 0 w 776"/>
                        <a:gd name="T9" fmla="*/ 0 h 776"/>
                        <a:gd name="T10" fmla="*/ 0 w 776"/>
                        <a:gd name="T11" fmla="*/ 0 h 776"/>
                      </a:gdLst>
                      <a:ahLst/>
                      <a:cxnLst>
                        <a:cxn ang="0">
                          <a:pos x="T0" y="T1"/>
                        </a:cxn>
                        <a:cxn ang="0">
                          <a:pos x="T2" y="T3"/>
                        </a:cxn>
                        <a:cxn ang="0">
                          <a:pos x="T4" y="T5"/>
                        </a:cxn>
                        <a:cxn ang="0">
                          <a:pos x="T6" y="T7"/>
                        </a:cxn>
                        <a:cxn ang="0">
                          <a:pos x="T8" y="T9"/>
                        </a:cxn>
                        <a:cxn ang="0">
                          <a:pos x="T10" y="T11"/>
                        </a:cxn>
                      </a:cxnLst>
                      <a:rect l="0" t="0" r="r" b="b"/>
                      <a:pathLst>
                        <a:path w="776" h="776">
                          <a:moveTo>
                            <a:pt x="0" y="0"/>
                          </a:moveTo>
                          <a:lnTo>
                            <a:pt x="776" y="0"/>
                          </a:lnTo>
                          <a:lnTo>
                            <a:pt x="776" y="776"/>
                          </a:lnTo>
                          <a:lnTo>
                            <a:pt x="0" y="776"/>
                          </a:lnTo>
                          <a:lnTo>
                            <a:pt x="0" y="0"/>
                          </a:lnTo>
                          <a:lnTo>
                            <a:pt x="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p:nvSpPr>
                <p:cNvPr id="108" name="TextBox 107"/>
                <p:cNvSpPr txBox="1"/>
                <p:nvPr/>
              </p:nvSpPr>
              <p:spPr>
                <a:xfrm>
                  <a:off x="7101987" y="3297435"/>
                  <a:ext cx="2333406" cy="186114"/>
                </a:xfrm>
                <a:prstGeom prst="rect">
                  <a:avLst/>
                </a:prstGeom>
                <a:noFill/>
              </p:spPr>
              <p:txBody>
                <a:bodyPr wrap="square" lIns="0" tIns="0" rIns="0" bIns="0" rtlCol="0">
                  <a:spAutoFit/>
                </a:bodyPr>
                <a:lstStyle/>
                <a:p>
                  <a:pPr algn="ctr" defTabSz="1243038">
                    <a:lnSpc>
                      <a:spcPct val="90000"/>
                    </a:lnSpc>
                    <a:spcBef>
                      <a:spcPct val="20000"/>
                    </a:spcBef>
                    <a:buSzPct val="80000"/>
                  </a:pPr>
                  <a:r>
                    <a:rPr lang="en-US" sz="400" b="1" dirty="0" smtClean="0">
                      <a:gradFill>
                        <a:gsLst>
                          <a:gs pos="21429">
                            <a:srgbClr val="EFEFEF">
                              <a:lumMod val="50000"/>
                            </a:srgbClr>
                          </a:gs>
                          <a:gs pos="42000">
                            <a:srgbClr val="EFEFEF">
                              <a:lumMod val="50000"/>
                            </a:srgbClr>
                          </a:gs>
                        </a:gsLst>
                        <a:lin ang="5400000" scaled="0"/>
                      </a:gradFill>
                    </a:rPr>
                    <a:t>SaaS apps</a:t>
                  </a:r>
                  <a:endParaRPr lang="en-US" sz="400" b="1" dirty="0">
                    <a:gradFill>
                      <a:gsLst>
                        <a:gs pos="21429">
                          <a:srgbClr val="EFEFEF">
                            <a:lumMod val="50000"/>
                          </a:srgbClr>
                        </a:gs>
                        <a:gs pos="42000">
                          <a:srgbClr val="EFEFEF">
                            <a:lumMod val="50000"/>
                          </a:srgbClr>
                        </a:gs>
                      </a:gsLst>
                      <a:lin ang="5400000" scaled="0"/>
                    </a:gradFill>
                  </a:endParaRPr>
                </a:p>
              </p:txBody>
            </p:sp>
          </p:grpSp>
          <p:grpSp>
            <p:nvGrpSpPr>
              <p:cNvPr id="96" name="Group 95"/>
              <p:cNvGrpSpPr/>
              <p:nvPr/>
            </p:nvGrpSpPr>
            <p:grpSpPr>
              <a:xfrm>
                <a:off x="-1329405" y="-584344"/>
                <a:ext cx="3450286" cy="1905991"/>
                <a:chOff x="8347466" y="2735628"/>
                <a:chExt cx="3450286" cy="1905991"/>
              </a:xfrm>
            </p:grpSpPr>
            <p:sp>
              <p:nvSpPr>
                <p:cNvPr id="101" name="Freeform 128"/>
                <p:cNvSpPr>
                  <a:spLocks noChangeAspect="1"/>
                </p:cNvSpPr>
                <p:nvPr/>
              </p:nvSpPr>
              <p:spPr bwMode="black">
                <a:xfrm>
                  <a:off x="8347466" y="2735628"/>
                  <a:ext cx="3450286" cy="190599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8575" cap="flat" cmpd="sng" algn="ctr">
                  <a:solidFill>
                    <a:schemeClr val="bg2"/>
                  </a:solid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102" name="Group 4"/>
                <p:cNvGrpSpPr>
                  <a:grpSpLocks noChangeAspect="1"/>
                </p:cNvGrpSpPr>
                <p:nvPr/>
              </p:nvGrpSpPr>
              <p:grpSpPr bwMode="auto">
                <a:xfrm>
                  <a:off x="9257354" y="3099992"/>
                  <a:ext cx="1336517" cy="1328090"/>
                  <a:chOff x="3125" y="1415"/>
                  <a:chExt cx="1586" cy="1576"/>
                </a:xfrm>
                <a:solidFill>
                  <a:srgbClr val="00188F"/>
                </a:solidFill>
              </p:grpSpPr>
              <p:sp>
                <p:nvSpPr>
                  <p:cNvPr id="10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0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sp>
                <p:nvSpPr>
                  <p:cNvPr id="10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defTabSz="914400">
                      <a:defRPr/>
                    </a:pPr>
                    <a:endParaRPr lang="en-US" kern="0" smtClean="0">
                      <a:solidFill>
                        <a:srgbClr val="EFEFEF"/>
                      </a:solidFill>
                    </a:endParaRPr>
                  </a:p>
                </p:txBody>
              </p:sp>
            </p:grpSp>
          </p:grpSp>
          <p:sp>
            <p:nvSpPr>
              <p:cNvPr id="97" name="Freeform 23"/>
              <p:cNvSpPr>
                <a:spLocks/>
              </p:cNvSpPr>
              <p:nvPr/>
            </p:nvSpPr>
            <p:spPr bwMode="auto">
              <a:xfrm>
                <a:off x="-947774" y="446257"/>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8" name="Freeform 23"/>
              <p:cNvSpPr>
                <a:spLocks/>
              </p:cNvSpPr>
              <p:nvPr/>
            </p:nvSpPr>
            <p:spPr bwMode="auto">
              <a:xfrm>
                <a:off x="-2607076" y="-540826"/>
                <a:ext cx="559631" cy="664191"/>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99" name="Freeform 13"/>
              <p:cNvSpPr>
                <a:spLocks noEditPoints="1"/>
              </p:cNvSpPr>
              <p:nvPr/>
            </p:nvSpPr>
            <p:spPr bwMode="auto">
              <a:xfrm>
                <a:off x="-2921027" y="721195"/>
                <a:ext cx="921540" cy="1411045"/>
              </a:xfrm>
              <a:custGeom>
                <a:avLst/>
                <a:gdLst>
                  <a:gd name="T0" fmla="*/ 748 w 1360"/>
                  <a:gd name="T1" fmla="*/ 1276 h 2085"/>
                  <a:gd name="T2" fmla="*/ 204 w 1360"/>
                  <a:gd name="T3" fmla="*/ 1276 h 2085"/>
                  <a:gd name="T4" fmla="*/ 561 w 1360"/>
                  <a:gd name="T5" fmla="*/ 587 h 2085"/>
                  <a:gd name="T6" fmla="*/ 680 w 1360"/>
                  <a:gd name="T7" fmla="*/ 927 h 2085"/>
                  <a:gd name="T8" fmla="*/ 748 w 1360"/>
                  <a:gd name="T9" fmla="*/ 978 h 2085"/>
                  <a:gd name="T10" fmla="*/ 1284 w 1360"/>
                  <a:gd name="T11" fmla="*/ 978 h 2085"/>
                  <a:gd name="T12" fmla="*/ 1360 w 1360"/>
                  <a:gd name="T13" fmla="*/ 902 h 2085"/>
                  <a:gd name="T14" fmla="*/ 1284 w 1360"/>
                  <a:gd name="T15" fmla="*/ 834 h 2085"/>
                  <a:gd name="T16" fmla="*/ 799 w 1360"/>
                  <a:gd name="T17" fmla="*/ 834 h 2085"/>
                  <a:gd name="T18" fmla="*/ 654 w 1360"/>
                  <a:gd name="T19" fmla="*/ 425 h 2085"/>
                  <a:gd name="T20" fmla="*/ 646 w 1360"/>
                  <a:gd name="T21" fmla="*/ 417 h 2085"/>
                  <a:gd name="T22" fmla="*/ 637 w 1360"/>
                  <a:gd name="T23" fmla="*/ 400 h 2085"/>
                  <a:gd name="T24" fmla="*/ 501 w 1360"/>
                  <a:gd name="T25" fmla="*/ 383 h 2085"/>
                  <a:gd name="T26" fmla="*/ 0 w 1360"/>
                  <a:gd name="T27" fmla="*/ 1370 h 2085"/>
                  <a:gd name="T28" fmla="*/ 34 w 1360"/>
                  <a:gd name="T29" fmla="*/ 1438 h 2085"/>
                  <a:gd name="T30" fmla="*/ 102 w 1360"/>
                  <a:gd name="T31" fmla="*/ 1472 h 2085"/>
                  <a:gd name="T32" fmla="*/ 654 w 1360"/>
                  <a:gd name="T33" fmla="*/ 1472 h 2085"/>
                  <a:gd name="T34" fmla="*/ 654 w 1360"/>
                  <a:gd name="T35" fmla="*/ 1991 h 2085"/>
                  <a:gd name="T36" fmla="*/ 748 w 1360"/>
                  <a:gd name="T37" fmla="*/ 2085 h 2085"/>
                  <a:gd name="T38" fmla="*/ 841 w 1360"/>
                  <a:gd name="T39" fmla="*/ 1991 h 2085"/>
                  <a:gd name="T40" fmla="*/ 841 w 1360"/>
                  <a:gd name="T41" fmla="*/ 1370 h 2085"/>
                  <a:gd name="T42" fmla="*/ 748 w 1360"/>
                  <a:gd name="T43" fmla="*/ 1276 h 2085"/>
                  <a:gd name="T44" fmla="*/ 841 w 1360"/>
                  <a:gd name="T45" fmla="*/ 0 h 2085"/>
                  <a:gd name="T46" fmla="*/ 1054 w 1360"/>
                  <a:gd name="T47" fmla="*/ 213 h 2085"/>
                  <a:gd name="T48" fmla="*/ 841 w 1360"/>
                  <a:gd name="T49" fmla="*/ 425 h 2085"/>
                  <a:gd name="T50" fmla="*/ 637 w 1360"/>
                  <a:gd name="T51" fmla="*/ 213 h 2085"/>
                  <a:gd name="T52" fmla="*/ 841 w 1360"/>
                  <a:gd name="T53" fmla="*/ 0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0" h="2085">
                    <a:moveTo>
                      <a:pt x="748" y="1276"/>
                    </a:moveTo>
                    <a:cubicBezTo>
                      <a:pt x="204" y="1276"/>
                      <a:pt x="204" y="1276"/>
                      <a:pt x="204" y="1276"/>
                    </a:cubicBezTo>
                    <a:cubicBezTo>
                      <a:pt x="229" y="1132"/>
                      <a:pt x="306" y="834"/>
                      <a:pt x="561" y="587"/>
                    </a:cubicBezTo>
                    <a:cubicBezTo>
                      <a:pt x="680" y="927"/>
                      <a:pt x="680" y="927"/>
                      <a:pt x="680" y="927"/>
                    </a:cubicBezTo>
                    <a:cubicBezTo>
                      <a:pt x="688" y="953"/>
                      <a:pt x="714" y="978"/>
                      <a:pt x="748" y="978"/>
                    </a:cubicBezTo>
                    <a:cubicBezTo>
                      <a:pt x="1284" y="978"/>
                      <a:pt x="1284" y="978"/>
                      <a:pt x="1284" y="978"/>
                    </a:cubicBezTo>
                    <a:cubicBezTo>
                      <a:pt x="1326" y="978"/>
                      <a:pt x="1360" y="944"/>
                      <a:pt x="1360" y="902"/>
                    </a:cubicBezTo>
                    <a:cubicBezTo>
                      <a:pt x="1360" y="859"/>
                      <a:pt x="1326" y="834"/>
                      <a:pt x="1284" y="834"/>
                    </a:cubicBezTo>
                    <a:cubicBezTo>
                      <a:pt x="799" y="834"/>
                      <a:pt x="799" y="834"/>
                      <a:pt x="799" y="834"/>
                    </a:cubicBezTo>
                    <a:cubicBezTo>
                      <a:pt x="654" y="425"/>
                      <a:pt x="654" y="425"/>
                      <a:pt x="654" y="425"/>
                    </a:cubicBezTo>
                    <a:cubicBezTo>
                      <a:pt x="654" y="425"/>
                      <a:pt x="654" y="417"/>
                      <a:pt x="646" y="417"/>
                    </a:cubicBezTo>
                    <a:cubicBezTo>
                      <a:pt x="646" y="408"/>
                      <a:pt x="646" y="400"/>
                      <a:pt x="637" y="400"/>
                    </a:cubicBezTo>
                    <a:cubicBezTo>
                      <a:pt x="603" y="357"/>
                      <a:pt x="544" y="349"/>
                      <a:pt x="501" y="383"/>
                    </a:cubicBezTo>
                    <a:cubicBezTo>
                      <a:pt x="17" y="791"/>
                      <a:pt x="0" y="1353"/>
                      <a:pt x="0" y="1370"/>
                    </a:cubicBezTo>
                    <a:cubicBezTo>
                      <a:pt x="0" y="1395"/>
                      <a:pt x="8" y="1421"/>
                      <a:pt x="34" y="1438"/>
                    </a:cubicBezTo>
                    <a:cubicBezTo>
                      <a:pt x="51" y="1463"/>
                      <a:pt x="76" y="1472"/>
                      <a:pt x="102" y="1472"/>
                    </a:cubicBezTo>
                    <a:cubicBezTo>
                      <a:pt x="654" y="1472"/>
                      <a:pt x="654" y="1472"/>
                      <a:pt x="654" y="1472"/>
                    </a:cubicBezTo>
                    <a:cubicBezTo>
                      <a:pt x="654" y="1991"/>
                      <a:pt x="654" y="1991"/>
                      <a:pt x="654" y="1991"/>
                    </a:cubicBezTo>
                    <a:cubicBezTo>
                      <a:pt x="654" y="2042"/>
                      <a:pt x="697" y="2085"/>
                      <a:pt x="748" y="2085"/>
                    </a:cubicBezTo>
                    <a:cubicBezTo>
                      <a:pt x="799" y="2085"/>
                      <a:pt x="841" y="2042"/>
                      <a:pt x="841" y="1991"/>
                    </a:cubicBezTo>
                    <a:cubicBezTo>
                      <a:pt x="841" y="1370"/>
                      <a:pt x="841" y="1370"/>
                      <a:pt x="841" y="1370"/>
                    </a:cubicBezTo>
                    <a:cubicBezTo>
                      <a:pt x="841" y="1319"/>
                      <a:pt x="799" y="1276"/>
                      <a:pt x="748" y="1276"/>
                    </a:cubicBezTo>
                    <a:close/>
                    <a:moveTo>
                      <a:pt x="841" y="0"/>
                    </a:moveTo>
                    <a:cubicBezTo>
                      <a:pt x="960" y="0"/>
                      <a:pt x="1054" y="102"/>
                      <a:pt x="1054" y="213"/>
                    </a:cubicBezTo>
                    <a:cubicBezTo>
                      <a:pt x="1054" y="332"/>
                      <a:pt x="960" y="425"/>
                      <a:pt x="841" y="425"/>
                    </a:cubicBezTo>
                    <a:cubicBezTo>
                      <a:pt x="731" y="425"/>
                      <a:pt x="637" y="332"/>
                      <a:pt x="637" y="213"/>
                    </a:cubicBezTo>
                    <a:cubicBezTo>
                      <a:pt x="637" y="102"/>
                      <a:pt x="731" y="0"/>
                      <a:pt x="841" y="0"/>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00" name="Freeform 9"/>
              <p:cNvSpPr>
                <a:spLocks noEditPoints="1"/>
              </p:cNvSpPr>
              <p:nvPr/>
            </p:nvSpPr>
            <p:spPr bwMode="auto">
              <a:xfrm>
                <a:off x="-2162244" y="780650"/>
                <a:ext cx="593034" cy="705128"/>
              </a:xfrm>
              <a:custGeom>
                <a:avLst/>
                <a:gdLst>
                  <a:gd name="T0" fmla="*/ 323 w 824"/>
                  <a:gd name="T1" fmla="*/ 885 h 979"/>
                  <a:gd name="T2" fmla="*/ 50 w 824"/>
                  <a:gd name="T3" fmla="*/ 885 h 979"/>
                  <a:gd name="T4" fmla="*/ 0 w 824"/>
                  <a:gd name="T5" fmla="*/ 928 h 979"/>
                  <a:gd name="T6" fmla="*/ 50 w 824"/>
                  <a:gd name="T7" fmla="*/ 979 h 979"/>
                  <a:gd name="T8" fmla="*/ 323 w 824"/>
                  <a:gd name="T9" fmla="*/ 979 h 979"/>
                  <a:gd name="T10" fmla="*/ 373 w 824"/>
                  <a:gd name="T11" fmla="*/ 928 h 979"/>
                  <a:gd name="T12" fmla="*/ 323 w 824"/>
                  <a:gd name="T13" fmla="*/ 885 h 979"/>
                  <a:gd name="T14" fmla="*/ 629 w 824"/>
                  <a:gd name="T15" fmla="*/ 587 h 979"/>
                  <a:gd name="T16" fmla="*/ 612 w 824"/>
                  <a:gd name="T17" fmla="*/ 562 h 979"/>
                  <a:gd name="T18" fmla="*/ 824 w 824"/>
                  <a:gd name="T19" fmla="*/ 60 h 979"/>
                  <a:gd name="T20" fmla="*/ 697 w 824"/>
                  <a:gd name="T21" fmla="*/ 0 h 979"/>
                  <a:gd name="T22" fmla="*/ 373 w 824"/>
                  <a:gd name="T23" fmla="*/ 740 h 979"/>
                  <a:gd name="T24" fmla="*/ 510 w 824"/>
                  <a:gd name="T25" fmla="*/ 791 h 979"/>
                  <a:gd name="T26" fmla="*/ 561 w 824"/>
                  <a:gd name="T27" fmla="*/ 672 h 979"/>
                  <a:gd name="T28" fmla="*/ 663 w 824"/>
                  <a:gd name="T29" fmla="*/ 885 h 979"/>
                  <a:gd name="T30" fmla="*/ 518 w 824"/>
                  <a:gd name="T31" fmla="*/ 885 h 979"/>
                  <a:gd name="T32" fmla="*/ 467 w 824"/>
                  <a:gd name="T33" fmla="*/ 928 h 979"/>
                  <a:gd name="T34" fmla="*/ 518 w 824"/>
                  <a:gd name="T35" fmla="*/ 979 h 979"/>
                  <a:gd name="T36" fmla="*/ 739 w 824"/>
                  <a:gd name="T37" fmla="*/ 979 h 979"/>
                  <a:gd name="T38" fmla="*/ 782 w 824"/>
                  <a:gd name="T39" fmla="*/ 962 h 979"/>
                  <a:gd name="T40" fmla="*/ 782 w 824"/>
                  <a:gd name="T41" fmla="*/ 911 h 979"/>
                  <a:gd name="T42" fmla="*/ 629 w 824"/>
                  <a:gd name="T43" fmla="*/ 587 h 979"/>
                  <a:gd name="T44" fmla="*/ 629 w 824"/>
                  <a:gd name="T45" fmla="*/ 587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24" h="979">
                    <a:moveTo>
                      <a:pt x="323" y="885"/>
                    </a:moveTo>
                    <a:cubicBezTo>
                      <a:pt x="50" y="885"/>
                      <a:pt x="50" y="885"/>
                      <a:pt x="50" y="885"/>
                    </a:cubicBezTo>
                    <a:cubicBezTo>
                      <a:pt x="25" y="885"/>
                      <a:pt x="0" y="902"/>
                      <a:pt x="0" y="928"/>
                    </a:cubicBezTo>
                    <a:cubicBezTo>
                      <a:pt x="0" y="962"/>
                      <a:pt x="25" y="979"/>
                      <a:pt x="50" y="979"/>
                    </a:cubicBezTo>
                    <a:cubicBezTo>
                      <a:pt x="323" y="979"/>
                      <a:pt x="323" y="979"/>
                      <a:pt x="323" y="979"/>
                    </a:cubicBezTo>
                    <a:cubicBezTo>
                      <a:pt x="348" y="979"/>
                      <a:pt x="373" y="962"/>
                      <a:pt x="373" y="928"/>
                    </a:cubicBezTo>
                    <a:cubicBezTo>
                      <a:pt x="373" y="902"/>
                      <a:pt x="348" y="885"/>
                      <a:pt x="323" y="885"/>
                    </a:cubicBezTo>
                    <a:close/>
                    <a:moveTo>
                      <a:pt x="629" y="587"/>
                    </a:moveTo>
                    <a:cubicBezTo>
                      <a:pt x="620" y="579"/>
                      <a:pt x="620" y="570"/>
                      <a:pt x="612" y="562"/>
                    </a:cubicBezTo>
                    <a:cubicBezTo>
                      <a:pt x="824" y="60"/>
                      <a:pt x="824" y="60"/>
                      <a:pt x="824" y="60"/>
                    </a:cubicBezTo>
                    <a:cubicBezTo>
                      <a:pt x="697" y="0"/>
                      <a:pt x="697" y="0"/>
                      <a:pt x="697" y="0"/>
                    </a:cubicBezTo>
                    <a:cubicBezTo>
                      <a:pt x="373" y="740"/>
                      <a:pt x="373" y="740"/>
                      <a:pt x="373" y="740"/>
                    </a:cubicBezTo>
                    <a:cubicBezTo>
                      <a:pt x="510" y="791"/>
                      <a:pt x="510" y="791"/>
                      <a:pt x="510" y="791"/>
                    </a:cubicBezTo>
                    <a:cubicBezTo>
                      <a:pt x="561" y="672"/>
                      <a:pt x="561" y="672"/>
                      <a:pt x="561" y="672"/>
                    </a:cubicBezTo>
                    <a:cubicBezTo>
                      <a:pt x="663" y="885"/>
                      <a:pt x="663" y="885"/>
                      <a:pt x="663" y="885"/>
                    </a:cubicBezTo>
                    <a:cubicBezTo>
                      <a:pt x="518" y="885"/>
                      <a:pt x="518" y="885"/>
                      <a:pt x="518" y="885"/>
                    </a:cubicBezTo>
                    <a:cubicBezTo>
                      <a:pt x="493" y="885"/>
                      <a:pt x="467" y="902"/>
                      <a:pt x="467" y="928"/>
                    </a:cubicBezTo>
                    <a:cubicBezTo>
                      <a:pt x="467" y="962"/>
                      <a:pt x="493" y="979"/>
                      <a:pt x="518" y="979"/>
                    </a:cubicBezTo>
                    <a:cubicBezTo>
                      <a:pt x="739" y="979"/>
                      <a:pt x="739" y="979"/>
                      <a:pt x="739" y="979"/>
                    </a:cubicBezTo>
                    <a:cubicBezTo>
                      <a:pt x="756" y="979"/>
                      <a:pt x="773" y="970"/>
                      <a:pt x="782" y="962"/>
                    </a:cubicBezTo>
                    <a:cubicBezTo>
                      <a:pt x="790" y="945"/>
                      <a:pt x="790" y="928"/>
                      <a:pt x="782" y="911"/>
                    </a:cubicBezTo>
                    <a:cubicBezTo>
                      <a:pt x="629" y="587"/>
                      <a:pt x="629" y="587"/>
                      <a:pt x="629" y="587"/>
                    </a:cubicBezTo>
                    <a:cubicBezTo>
                      <a:pt x="629" y="587"/>
                      <a:pt x="629" y="587"/>
                      <a:pt x="629" y="587"/>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 useBgFill="1">
        <p:nvSpPr>
          <p:cNvPr id="49" name="Rectangle 48"/>
          <p:cNvSpPr/>
          <p:nvPr/>
        </p:nvSpPr>
        <p:spPr bwMode="auto">
          <a:xfrm>
            <a:off x="12161838" y="4881272"/>
            <a:ext cx="295505" cy="202435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39" name="Group 138"/>
          <p:cNvGrpSpPr/>
          <p:nvPr/>
        </p:nvGrpSpPr>
        <p:grpSpPr>
          <a:xfrm>
            <a:off x="8168540" y="2898541"/>
            <a:ext cx="597269" cy="396233"/>
            <a:chOff x="6816726" y="3825876"/>
            <a:chExt cx="1136649" cy="754063"/>
          </a:xfrm>
          <a:solidFill>
            <a:schemeClr val="accent1"/>
          </a:solidFill>
        </p:grpSpPr>
        <p:sp>
          <p:nvSpPr>
            <p:cNvPr id="140" name="Freeform 154"/>
            <p:cNvSpPr>
              <a:spLocks/>
            </p:cNvSpPr>
            <p:nvPr/>
          </p:nvSpPr>
          <p:spPr bwMode="auto">
            <a:xfrm>
              <a:off x="7548563" y="3897313"/>
              <a:ext cx="404812" cy="600075"/>
            </a:xfrm>
            <a:custGeom>
              <a:avLst/>
              <a:gdLst>
                <a:gd name="T0" fmla="*/ 7 w 108"/>
                <a:gd name="T1" fmla="*/ 66 h 160"/>
                <a:gd name="T2" fmla="*/ 5 w 108"/>
                <a:gd name="T3" fmla="*/ 72 h 160"/>
                <a:gd name="T4" fmla="*/ 4 w 108"/>
                <a:gd name="T5" fmla="*/ 76 h 160"/>
                <a:gd name="T6" fmla="*/ 8 w 108"/>
                <a:gd name="T7" fmla="*/ 77 h 160"/>
                <a:gd name="T8" fmla="*/ 23 w 108"/>
                <a:gd name="T9" fmla="*/ 82 h 160"/>
                <a:gd name="T10" fmla="*/ 23 w 108"/>
                <a:gd name="T11" fmla="*/ 89 h 160"/>
                <a:gd name="T12" fmla="*/ 15 w 108"/>
                <a:gd name="T13" fmla="*/ 95 h 160"/>
                <a:gd name="T14" fmla="*/ 13 w 108"/>
                <a:gd name="T15" fmla="*/ 99 h 160"/>
                <a:gd name="T16" fmla="*/ 35 w 108"/>
                <a:gd name="T17" fmla="*/ 122 h 160"/>
                <a:gd name="T18" fmla="*/ 44 w 108"/>
                <a:gd name="T19" fmla="*/ 160 h 160"/>
                <a:gd name="T20" fmla="*/ 108 w 108"/>
                <a:gd name="T21" fmla="*/ 160 h 160"/>
                <a:gd name="T22" fmla="*/ 106 w 108"/>
                <a:gd name="T23" fmla="*/ 121 h 160"/>
                <a:gd name="T24" fmla="*/ 96 w 108"/>
                <a:gd name="T25" fmla="*/ 111 h 160"/>
                <a:gd name="T26" fmla="*/ 80 w 108"/>
                <a:gd name="T27" fmla="*/ 105 h 160"/>
                <a:gd name="T28" fmla="*/ 70 w 108"/>
                <a:gd name="T29" fmla="*/ 100 h 160"/>
                <a:gd name="T30" fmla="*/ 65 w 108"/>
                <a:gd name="T31" fmla="*/ 95 h 160"/>
                <a:gd name="T32" fmla="*/ 58 w 108"/>
                <a:gd name="T33" fmla="*/ 89 h 160"/>
                <a:gd name="T34" fmla="*/ 58 w 108"/>
                <a:gd name="T35" fmla="*/ 82 h 160"/>
                <a:gd name="T36" fmla="*/ 73 w 108"/>
                <a:gd name="T37" fmla="*/ 77 h 160"/>
                <a:gd name="T38" fmla="*/ 77 w 108"/>
                <a:gd name="T39" fmla="*/ 76 h 160"/>
                <a:gd name="T40" fmla="*/ 75 w 108"/>
                <a:gd name="T41" fmla="*/ 72 h 160"/>
                <a:gd name="T42" fmla="*/ 73 w 108"/>
                <a:gd name="T43" fmla="*/ 66 h 160"/>
                <a:gd name="T44" fmla="*/ 81 w 108"/>
                <a:gd name="T45" fmla="*/ 73 h 160"/>
                <a:gd name="T46" fmla="*/ 75 w 108"/>
                <a:gd name="T47" fmla="*/ 58 h 160"/>
                <a:gd name="T48" fmla="*/ 72 w 108"/>
                <a:gd name="T49" fmla="*/ 44 h 160"/>
                <a:gd name="T50" fmla="*/ 67 w 108"/>
                <a:gd name="T51" fmla="*/ 17 h 160"/>
                <a:gd name="T52" fmla="*/ 59 w 108"/>
                <a:gd name="T53" fmla="*/ 6 h 160"/>
                <a:gd name="T54" fmla="*/ 41 w 108"/>
                <a:gd name="T55" fmla="*/ 0 h 160"/>
                <a:gd name="T56" fmla="*/ 40 w 108"/>
                <a:gd name="T57" fmla="*/ 0 h 160"/>
                <a:gd name="T58" fmla="*/ 40 w 108"/>
                <a:gd name="T59" fmla="*/ 0 h 160"/>
                <a:gd name="T60" fmla="*/ 22 w 108"/>
                <a:gd name="T61" fmla="*/ 6 h 160"/>
                <a:gd name="T62" fmla="*/ 14 w 108"/>
                <a:gd name="T63" fmla="*/ 17 h 160"/>
                <a:gd name="T64" fmla="*/ 9 w 108"/>
                <a:gd name="T65" fmla="*/ 44 h 160"/>
                <a:gd name="T66" fmla="*/ 6 w 108"/>
                <a:gd name="T67" fmla="*/ 59 h 160"/>
                <a:gd name="T68" fmla="*/ 0 w 108"/>
                <a:gd name="T69" fmla="*/ 73 h 160"/>
                <a:gd name="T70" fmla="*/ 7 w 108"/>
                <a:gd name="T71" fmla="*/ 6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60">
                  <a:moveTo>
                    <a:pt x="7" y="66"/>
                  </a:moveTo>
                  <a:cubicBezTo>
                    <a:pt x="7" y="66"/>
                    <a:pt x="6" y="72"/>
                    <a:pt x="5" y="72"/>
                  </a:cubicBezTo>
                  <a:cubicBezTo>
                    <a:pt x="5" y="73"/>
                    <a:pt x="3" y="76"/>
                    <a:pt x="4" y="76"/>
                  </a:cubicBezTo>
                  <a:cubicBezTo>
                    <a:pt x="4" y="76"/>
                    <a:pt x="8" y="77"/>
                    <a:pt x="8" y="77"/>
                  </a:cubicBezTo>
                  <a:cubicBezTo>
                    <a:pt x="23" y="82"/>
                    <a:pt x="23" y="82"/>
                    <a:pt x="23" y="82"/>
                  </a:cubicBezTo>
                  <a:cubicBezTo>
                    <a:pt x="23" y="89"/>
                    <a:pt x="23" y="89"/>
                    <a:pt x="23" y="89"/>
                  </a:cubicBezTo>
                  <a:cubicBezTo>
                    <a:pt x="21" y="89"/>
                    <a:pt x="16" y="93"/>
                    <a:pt x="15" y="95"/>
                  </a:cubicBezTo>
                  <a:cubicBezTo>
                    <a:pt x="15" y="96"/>
                    <a:pt x="14" y="98"/>
                    <a:pt x="13" y="99"/>
                  </a:cubicBezTo>
                  <a:cubicBezTo>
                    <a:pt x="27" y="105"/>
                    <a:pt x="35" y="113"/>
                    <a:pt x="35" y="122"/>
                  </a:cubicBezTo>
                  <a:cubicBezTo>
                    <a:pt x="35" y="123"/>
                    <a:pt x="44" y="153"/>
                    <a:pt x="44" y="160"/>
                  </a:cubicBezTo>
                  <a:cubicBezTo>
                    <a:pt x="108" y="160"/>
                    <a:pt x="108" y="160"/>
                    <a:pt x="108" y="160"/>
                  </a:cubicBezTo>
                  <a:cubicBezTo>
                    <a:pt x="108" y="160"/>
                    <a:pt x="106" y="121"/>
                    <a:pt x="106" y="121"/>
                  </a:cubicBezTo>
                  <a:cubicBezTo>
                    <a:pt x="106" y="121"/>
                    <a:pt x="102" y="112"/>
                    <a:pt x="96" y="111"/>
                  </a:cubicBezTo>
                  <a:cubicBezTo>
                    <a:pt x="91" y="110"/>
                    <a:pt x="83" y="108"/>
                    <a:pt x="80" y="105"/>
                  </a:cubicBezTo>
                  <a:cubicBezTo>
                    <a:pt x="78" y="104"/>
                    <a:pt x="72" y="101"/>
                    <a:pt x="70" y="100"/>
                  </a:cubicBezTo>
                  <a:cubicBezTo>
                    <a:pt x="68" y="100"/>
                    <a:pt x="66" y="96"/>
                    <a:pt x="65" y="95"/>
                  </a:cubicBezTo>
                  <a:cubicBezTo>
                    <a:pt x="65" y="93"/>
                    <a:pt x="59" y="89"/>
                    <a:pt x="58" y="89"/>
                  </a:cubicBezTo>
                  <a:cubicBezTo>
                    <a:pt x="58" y="82"/>
                    <a:pt x="58" y="82"/>
                    <a:pt x="58" y="82"/>
                  </a:cubicBezTo>
                  <a:cubicBezTo>
                    <a:pt x="73" y="77"/>
                    <a:pt x="73" y="77"/>
                    <a:pt x="73" y="77"/>
                  </a:cubicBezTo>
                  <a:cubicBezTo>
                    <a:pt x="73" y="77"/>
                    <a:pt x="77" y="76"/>
                    <a:pt x="77" y="76"/>
                  </a:cubicBezTo>
                  <a:cubicBezTo>
                    <a:pt x="78" y="76"/>
                    <a:pt x="75" y="73"/>
                    <a:pt x="75" y="72"/>
                  </a:cubicBezTo>
                  <a:cubicBezTo>
                    <a:pt x="75" y="71"/>
                    <a:pt x="73" y="66"/>
                    <a:pt x="73" y="66"/>
                  </a:cubicBezTo>
                  <a:cubicBezTo>
                    <a:pt x="73" y="66"/>
                    <a:pt x="79" y="72"/>
                    <a:pt x="81" y="73"/>
                  </a:cubicBezTo>
                  <a:cubicBezTo>
                    <a:pt x="81" y="73"/>
                    <a:pt x="76" y="64"/>
                    <a:pt x="75" y="58"/>
                  </a:cubicBezTo>
                  <a:cubicBezTo>
                    <a:pt x="73" y="53"/>
                    <a:pt x="72" y="45"/>
                    <a:pt x="72" y="44"/>
                  </a:cubicBezTo>
                  <a:cubicBezTo>
                    <a:pt x="72" y="43"/>
                    <a:pt x="69" y="21"/>
                    <a:pt x="67" y="17"/>
                  </a:cubicBezTo>
                  <a:cubicBezTo>
                    <a:pt x="65" y="14"/>
                    <a:pt x="63" y="8"/>
                    <a:pt x="59" y="6"/>
                  </a:cubicBezTo>
                  <a:cubicBezTo>
                    <a:pt x="55" y="4"/>
                    <a:pt x="49" y="0"/>
                    <a:pt x="41" y="0"/>
                  </a:cubicBezTo>
                  <a:cubicBezTo>
                    <a:pt x="41" y="0"/>
                    <a:pt x="41" y="0"/>
                    <a:pt x="40" y="0"/>
                  </a:cubicBezTo>
                  <a:cubicBezTo>
                    <a:pt x="40" y="0"/>
                    <a:pt x="40" y="0"/>
                    <a:pt x="40" y="0"/>
                  </a:cubicBezTo>
                  <a:cubicBezTo>
                    <a:pt x="32" y="0"/>
                    <a:pt x="26" y="4"/>
                    <a:pt x="22" y="6"/>
                  </a:cubicBezTo>
                  <a:cubicBezTo>
                    <a:pt x="18" y="8"/>
                    <a:pt x="15" y="14"/>
                    <a:pt x="14" y="17"/>
                  </a:cubicBezTo>
                  <a:cubicBezTo>
                    <a:pt x="12" y="21"/>
                    <a:pt x="9" y="43"/>
                    <a:pt x="9" y="44"/>
                  </a:cubicBezTo>
                  <a:cubicBezTo>
                    <a:pt x="9" y="45"/>
                    <a:pt x="8" y="53"/>
                    <a:pt x="6" y="59"/>
                  </a:cubicBezTo>
                  <a:cubicBezTo>
                    <a:pt x="5" y="64"/>
                    <a:pt x="0" y="73"/>
                    <a:pt x="0" y="73"/>
                  </a:cubicBezTo>
                  <a:cubicBezTo>
                    <a:pt x="2" y="72"/>
                    <a:pt x="7" y="66"/>
                    <a:pt x="7" y="66"/>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1" name="Freeform 155"/>
            <p:cNvSpPr>
              <a:spLocks/>
            </p:cNvSpPr>
            <p:nvPr/>
          </p:nvSpPr>
          <p:spPr bwMode="auto">
            <a:xfrm>
              <a:off x="6816726" y="3875088"/>
              <a:ext cx="409575" cy="608013"/>
            </a:xfrm>
            <a:custGeom>
              <a:avLst/>
              <a:gdLst>
                <a:gd name="T0" fmla="*/ 71 w 109"/>
                <a:gd name="T1" fmla="*/ 134 h 162"/>
                <a:gd name="T2" fmla="*/ 71 w 109"/>
                <a:gd name="T3" fmla="*/ 133 h 162"/>
                <a:gd name="T4" fmla="*/ 71 w 109"/>
                <a:gd name="T5" fmla="*/ 133 h 162"/>
                <a:gd name="T6" fmla="*/ 108 w 109"/>
                <a:gd name="T7" fmla="*/ 102 h 162"/>
                <a:gd name="T8" fmla="*/ 108 w 109"/>
                <a:gd name="T9" fmla="*/ 102 h 162"/>
                <a:gd name="T10" fmla="*/ 95 w 109"/>
                <a:gd name="T11" fmla="*/ 96 h 162"/>
                <a:gd name="T12" fmla="*/ 93 w 109"/>
                <a:gd name="T13" fmla="*/ 83 h 162"/>
                <a:gd name="T14" fmla="*/ 104 w 109"/>
                <a:gd name="T15" fmla="*/ 61 h 162"/>
                <a:gd name="T16" fmla="*/ 108 w 109"/>
                <a:gd name="T17" fmla="*/ 55 h 162"/>
                <a:gd name="T18" fmla="*/ 105 w 109"/>
                <a:gd name="T19" fmla="*/ 43 h 162"/>
                <a:gd name="T20" fmla="*/ 105 w 109"/>
                <a:gd name="T21" fmla="*/ 34 h 162"/>
                <a:gd name="T22" fmla="*/ 96 w 109"/>
                <a:gd name="T23" fmla="*/ 13 h 162"/>
                <a:gd name="T24" fmla="*/ 87 w 109"/>
                <a:gd name="T25" fmla="*/ 7 h 162"/>
                <a:gd name="T26" fmla="*/ 80 w 109"/>
                <a:gd name="T27" fmla="*/ 5 h 162"/>
                <a:gd name="T28" fmla="*/ 80 w 109"/>
                <a:gd name="T29" fmla="*/ 7 h 162"/>
                <a:gd name="T30" fmla="*/ 80 w 109"/>
                <a:gd name="T31" fmla="*/ 7 h 162"/>
                <a:gd name="T32" fmla="*/ 79 w 109"/>
                <a:gd name="T33" fmla="*/ 2 h 162"/>
                <a:gd name="T34" fmla="*/ 79 w 109"/>
                <a:gd name="T35" fmla="*/ 0 h 162"/>
                <a:gd name="T36" fmla="*/ 70 w 109"/>
                <a:gd name="T37" fmla="*/ 9 h 162"/>
                <a:gd name="T38" fmla="*/ 71 w 109"/>
                <a:gd name="T39" fmla="*/ 4 h 162"/>
                <a:gd name="T40" fmla="*/ 58 w 109"/>
                <a:gd name="T41" fmla="*/ 13 h 162"/>
                <a:gd name="T42" fmla="*/ 49 w 109"/>
                <a:gd name="T43" fmla="*/ 36 h 162"/>
                <a:gd name="T44" fmla="*/ 50 w 109"/>
                <a:gd name="T45" fmla="*/ 43 h 162"/>
                <a:gd name="T46" fmla="*/ 48 w 109"/>
                <a:gd name="T47" fmla="*/ 55 h 162"/>
                <a:gd name="T48" fmla="*/ 53 w 109"/>
                <a:gd name="T49" fmla="*/ 63 h 162"/>
                <a:gd name="T50" fmla="*/ 61 w 109"/>
                <a:gd name="T51" fmla="*/ 83 h 162"/>
                <a:gd name="T52" fmla="*/ 59 w 109"/>
                <a:gd name="T53" fmla="*/ 96 h 162"/>
                <a:gd name="T54" fmla="*/ 42 w 109"/>
                <a:gd name="T55" fmla="*/ 104 h 162"/>
                <a:gd name="T56" fmla="*/ 19 w 109"/>
                <a:gd name="T57" fmla="*/ 112 h 162"/>
                <a:gd name="T58" fmla="*/ 4 w 109"/>
                <a:gd name="T59" fmla="*/ 162 h 162"/>
                <a:gd name="T60" fmla="*/ 64 w 109"/>
                <a:gd name="T61" fmla="*/ 162 h 162"/>
                <a:gd name="T62" fmla="*/ 71 w 109"/>
                <a:gd name="T6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162">
                  <a:moveTo>
                    <a:pt x="71" y="134"/>
                  </a:moveTo>
                  <a:cubicBezTo>
                    <a:pt x="71" y="133"/>
                    <a:pt x="71" y="133"/>
                    <a:pt x="71" y="133"/>
                  </a:cubicBezTo>
                  <a:cubicBezTo>
                    <a:pt x="71" y="133"/>
                    <a:pt x="71" y="133"/>
                    <a:pt x="71" y="133"/>
                  </a:cubicBezTo>
                  <a:cubicBezTo>
                    <a:pt x="75" y="115"/>
                    <a:pt x="96" y="107"/>
                    <a:pt x="108" y="102"/>
                  </a:cubicBezTo>
                  <a:cubicBezTo>
                    <a:pt x="108" y="102"/>
                    <a:pt x="108" y="102"/>
                    <a:pt x="108" y="102"/>
                  </a:cubicBezTo>
                  <a:cubicBezTo>
                    <a:pt x="101" y="98"/>
                    <a:pt x="97" y="96"/>
                    <a:pt x="95" y="96"/>
                  </a:cubicBezTo>
                  <a:cubicBezTo>
                    <a:pt x="95" y="94"/>
                    <a:pt x="93" y="83"/>
                    <a:pt x="93" y="83"/>
                  </a:cubicBezTo>
                  <a:cubicBezTo>
                    <a:pt x="93" y="83"/>
                    <a:pt x="102" y="76"/>
                    <a:pt x="104" y="61"/>
                  </a:cubicBezTo>
                  <a:cubicBezTo>
                    <a:pt x="104" y="61"/>
                    <a:pt x="108" y="64"/>
                    <a:pt x="108" y="55"/>
                  </a:cubicBezTo>
                  <a:cubicBezTo>
                    <a:pt x="108" y="48"/>
                    <a:pt x="109" y="45"/>
                    <a:pt x="105" y="43"/>
                  </a:cubicBezTo>
                  <a:cubicBezTo>
                    <a:pt x="105" y="43"/>
                    <a:pt x="105" y="39"/>
                    <a:pt x="105" y="34"/>
                  </a:cubicBezTo>
                  <a:cubicBezTo>
                    <a:pt x="105" y="28"/>
                    <a:pt x="107" y="20"/>
                    <a:pt x="96" y="13"/>
                  </a:cubicBezTo>
                  <a:cubicBezTo>
                    <a:pt x="94" y="12"/>
                    <a:pt x="87" y="7"/>
                    <a:pt x="87" y="7"/>
                  </a:cubicBezTo>
                  <a:cubicBezTo>
                    <a:pt x="84" y="6"/>
                    <a:pt x="80" y="5"/>
                    <a:pt x="80" y="5"/>
                  </a:cubicBezTo>
                  <a:cubicBezTo>
                    <a:pt x="80" y="7"/>
                    <a:pt x="80" y="7"/>
                    <a:pt x="80" y="7"/>
                  </a:cubicBezTo>
                  <a:cubicBezTo>
                    <a:pt x="80" y="7"/>
                    <a:pt x="80" y="7"/>
                    <a:pt x="80" y="7"/>
                  </a:cubicBezTo>
                  <a:cubicBezTo>
                    <a:pt x="79" y="6"/>
                    <a:pt x="79" y="3"/>
                    <a:pt x="79" y="2"/>
                  </a:cubicBezTo>
                  <a:cubicBezTo>
                    <a:pt x="79" y="0"/>
                    <a:pt x="79" y="0"/>
                    <a:pt x="79" y="0"/>
                  </a:cubicBezTo>
                  <a:cubicBezTo>
                    <a:pt x="74" y="4"/>
                    <a:pt x="70" y="9"/>
                    <a:pt x="70" y="9"/>
                  </a:cubicBezTo>
                  <a:cubicBezTo>
                    <a:pt x="71" y="4"/>
                    <a:pt x="71" y="4"/>
                    <a:pt x="71" y="4"/>
                  </a:cubicBezTo>
                  <a:cubicBezTo>
                    <a:pt x="71" y="4"/>
                    <a:pt x="70" y="5"/>
                    <a:pt x="58" y="13"/>
                  </a:cubicBezTo>
                  <a:cubicBezTo>
                    <a:pt x="47" y="20"/>
                    <a:pt x="49" y="30"/>
                    <a:pt x="49" y="36"/>
                  </a:cubicBezTo>
                  <a:cubicBezTo>
                    <a:pt x="49" y="40"/>
                    <a:pt x="50" y="43"/>
                    <a:pt x="50" y="43"/>
                  </a:cubicBezTo>
                  <a:cubicBezTo>
                    <a:pt x="45" y="45"/>
                    <a:pt x="48" y="48"/>
                    <a:pt x="48" y="55"/>
                  </a:cubicBezTo>
                  <a:cubicBezTo>
                    <a:pt x="48" y="64"/>
                    <a:pt x="53" y="63"/>
                    <a:pt x="53" y="63"/>
                  </a:cubicBezTo>
                  <a:cubicBezTo>
                    <a:pt x="55" y="75"/>
                    <a:pt x="61" y="83"/>
                    <a:pt x="61" y="83"/>
                  </a:cubicBezTo>
                  <a:cubicBezTo>
                    <a:pt x="61" y="83"/>
                    <a:pt x="59" y="94"/>
                    <a:pt x="59" y="96"/>
                  </a:cubicBezTo>
                  <a:cubicBezTo>
                    <a:pt x="57" y="96"/>
                    <a:pt x="52" y="99"/>
                    <a:pt x="42" y="104"/>
                  </a:cubicBezTo>
                  <a:cubicBezTo>
                    <a:pt x="27" y="110"/>
                    <a:pt x="31" y="106"/>
                    <a:pt x="19" y="112"/>
                  </a:cubicBezTo>
                  <a:cubicBezTo>
                    <a:pt x="0" y="122"/>
                    <a:pt x="4" y="162"/>
                    <a:pt x="4" y="162"/>
                  </a:cubicBezTo>
                  <a:cubicBezTo>
                    <a:pt x="64" y="162"/>
                    <a:pt x="64" y="162"/>
                    <a:pt x="64" y="162"/>
                  </a:cubicBezTo>
                  <a:lnTo>
                    <a:pt x="71" y="134"/>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42" name="Freeform 156"/>
            <p:cNvSpPr>
              <a:spLocks/>
            </p:cNvSpPr>
            <p:nvPr/>
          </p:nvSpPr>
          <p:spPr bwMode="auto">
            <a:xfrm>
              <a:off x="7067550" y="3825876"/>
              <a:ext cx="635000" cy="754063"/>
            </a:xfrm>
            <a:custGeom>
              <a:avLst/>
              <a:gdLst>
                <a:gd name="T0" fmla="*/ 169 w 169"/>
                <a:gd name="T1" fmla="*/ 201 h 201"/>
                <a:gd name="T2" fmla="*/ 156 w 169"/>
                <a:gd name="T3" fmla="*/ 141 h 201"/>
                <a:gd name="T4" fmla="*/ 128 w 169"/>
                <a:gd name="T5" fmla="*/ 122 h 201"/>
                <a:gd name="T6" fmla="*/ 111 w 169"/>
                <a:gd name="T7" fmla="*/ 114 h 201"/>
                <a:gd name="T8" fmla="*/ 110 w 169"/>
                <a:gd name="T9" fmla="*/ 107 h 201"/>
                <a:gd name="T10" fmla="*/ 104 w 169"/>
                <a:gd name="T11" fmla="*/ 106 h 201"/>
                <a:gd name="T12" fmla="*/ 103 w 169"/>
                <a:gd name="T13" fmla="*/ 98 h 201"/>
                <a:gd name="T14" fmla="*/ 110 w 169"/>
                <a:gd name="T15" fmla="*/ 82 h 201"/>
                <a:gd name="T16" fmla="*/ 117 w 169"/>
                <a:gd name="T17" fmla="*/ 73 h 201"/>
                <a:gd name="T18" fmla="*/ 114 w 169"/>
                <a:gd name="T19" fmla="*/ 59 h 201"/>
                <a:gd name="T20" fmla="*/ 114 w 169"/>
                <a:gd name="T21" fmla="*/ 31 h 201"/>
                <a:gd name="T22" fmla="*/ 64 w 169"/>
                <a:gd name="T23" fmla="*/ 18 h 201"/>
                <a:gd name="T24" fmla="*/ 52 w 169"/>
                <a:gd name="T25" fmla="*/ 51 h 201"/>
                <a:gd name="T26" fmla="*/ 55 w 169"/>
                <a:gd name="T27" fmla="*/ 60 h 201"/>
                <a:gd name="T28" fmla="*/ 54 w 169"/>
                <a:gd name="T29" fmla="*/ 75 h 201"/>
                <a:gd name="T30" fmla="*/ 59 w 169"/>
                <a:gd name="T31" fmla="*/ 82 h 201"/>
                <a:gd name="T32" fmla="*/ 67 w 169"/>
                <a:gd name="T33" fmla="*/ 98 h 201"/>
                <a:gd name="T34" fmla="*/ 67 w 169"/>
                <a:gd name="T35" fmla="*/ 106 h 201"/>
                <a:gd name="T36" fmla="*/ 61 w 169"/>
                <a:gd name="T37" fmla="*/ 107 h 201"/>
                <a:gd name="T38" fmla="*/ 60 w 169"/>
                <a:gd name="T39" fmla="*/ 113 h 201"/>
                <a:gd name="T40" fmla="*/ 44 w 169"/>
                <a:gd name="T41" fmla="*/ 121 h 201"/>
                <a:gd name="T42" fmla="*/ 11 w 169"/>
                <a:gd name="T43" fmla="*/ 147 h 201"/>
                <a:gd name="T44" fmla="*/ 0 w 169"/>
                <a:gd name="T45" fmla="*/ 201 h 201"/>
                <a:gd name="T46" fmla="*/ 169 w 169"/>
                <a:gd name="T4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1">
                  <a:moveTo>
                    <a:pt x="169" y="201"/>
                  </a:moveTo>
                  <a:cubicBezTo>
                    <a:pt x="169" y="190"/>
                    <a:pt x="156" y="141"/>
                    <a:pt x="156" y="141"/>
                  </a:cubicBezTo>
                  <a:cubicBezTo>
                    <a:pt x="156" y="134"/>
                    <a:pt x="146" y="126"/>
                    <a:pt x="128" y="122"/>
                  </a:cubicBezTo>
                  <a:cubicBezTo>
                    <a:pt x="119" y="119"/>
                    <a:pt x="111" y="114"/>
                    <a:pt x="111" y="114"/>
                  </a:cubicBezTo>
                  <a:cubicBezTo>
                    <a:pt x="109" y="113"/>
                    <a:pt x="110" y="107"/>
                    <a:pt x="110" y="107"/>
                  </a:cubicBezTo>
                  <a:cubicBezTo>
                    <a:pt x="104" y="106"/>
                    <a:pt x="104" y="106"/>
                    <a:pt x="104" y="106"/>
                  </a:cubicBezTo>
                  <a:cubicBezTo>
                    <a:pt x="104" y="105"/>
                    <a:pt x="103" y="98"/>
                    <a:pt x="103" y="98"/>
                  </a:cubicBezTo>
                  <a:cubicBezTo>
                    <a:pt x="110" y="96"/>
                    <a:pt x="110" y="82"/>
                    <a:pt x="110" y="82"/>
                  </a:cubicBezTo>
                  <a:cubicBezTo>
                    <a:pt x="114" y="84"/>
                    <a:pt x="117" y="73"/>
                    <a:pt x="117" y="73"/>
                  </a:cubicBezTo>
                  <a:cubicBezTo>
                    <a:pt x="122" y="58"/>
                    <a:pt x="114" y="59"/>
                    <a:pt x="114" y="59"/>
                  </a:cubicBezTo>
                  <a:cubicBezTo>
                    <a:pt x="117" y="48"/>
                    <a:pt x="114" y="31"/>
                    <a:pt x="114" y="31"/>
                  </a:cubicBezTo>
                  <a:cubicBezTo>
                    <a:pt x="111" y="0"/>
                    <a:pt x="58" y="8"/>
                    <a:pt x="64" y="18"/>
                  </a:cubicBezTo>
                  <a:cubicBezTo>
                    <a:pt x="48" y="16"/>
                    <a:pt x="52" y="51"/>
                    <a:pt x="52" y="51"/>
                  </a:cubicBezTo>
                  <a:cubicBezTo>
                    <a:pt x="55" y="60"/>
                    <a:pt x="55" y="60"/>
                    <a:pt x="55" y="60"/>
                  </a:cubicBezTo>
                  <a:cubicBezTo>
                    <a:pt x="49" y="64"/>
                    <a:pt x="53" y="69"/>
                    <a:pt x="54" y="75"/>
                  </a:cubicBezTo>
                  <a:cubicBezTo>
                    <a:pt x="54" y="84"/>
                    <a:pt x="59" y="82"/>
                    <a:pt x="59" y="82"/>
                  </a:cubicBezTo>
                  <a:cubicBezTo>
                    <a:pt x="60" y="97"/>
                    <a:pt x="67" y="98"/>
                    <a:pt x="67" y="98"/>
                  </a:cubicBezTo>
                  <a:cubicBezTo>
                    <a:pt x="68" y="107"/>
                    <a:pt x="67" y="106"/>
                    <a:pt x="67" y="106"/>
                  </a:cubicBezTo>
                  <a:cubicBezTo>
                    <a:pt x="61" y="107"/>
                    <a:pt x="61" y="107"/>
                    <a:pt x="61" y="107"/>
                  </a:cubicBezTo>
                  <a:cubicBezTo>
                    <a:pt x="61" y="109"/>
                    <a:pt x="60" y="113"/>
                    <a:pt x="60" y="113"/>
                  </a:cubicBezTo>
                  <a:cubicBezTo>
                    <a:pt x="53" y="116"/>
                    <a:pt x="51" y="118"/>
                    <a:pt x="44" y="121"/>
                  </a:cubicBezTo>
                  <a:cubicBezTo>
                    <a:pt x="29" y="128"/>
                    <a:pt x="14" y="136"/>
                    <a:pt x="11" y="147"/>
                  </a:cubicBezTo>
                  <a:cubicBezTo>
                    <a:pt x="8" y="158"/>
                    <a:pt x="0" y="201"/>
                    <a:pt x="0" y="201"/>
                  </a:cubicBezTo>
                  <a:cubicBezTo>
                    <a:pt x="169" y="201"/>
                    <a:pt x="169" y="201"/>
                    <a:pt x="169" y="201"/>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65" name="Group 164"/>
          <p:cNvGrpSpPr/>
          <p:nvPr/>
        </p:nvGrpSpPr>
        <p:grpSpPr>
          <a:xfrm>
            <a:off x="9774644" y="3799011"/>
            <a:ext cx="597269" cy="396233"/>
            <a:chOff x="6816726" y="3825876"/>
            <a:chExt cx="1136649" cy="754063"/>
          </a:xfrm>
          <a:solidFill>
            <a:schemeClr val="accent1"/>
          </a:solidFill>
        </p:grpSpPr>
        <p:sp>
          <p:nvSpPr>
            <p:cNvPr id="166" name="Freeform 154"/>
            <p:cNvSpPr>
              <a:spLocks/>
            </p:cNvSpPr>
            <p:nvPr/>
          </p:nvSpPr>
          <p:spPr bwMode="auto">
            <a:xfrm>
              <a:off x="7548563" y="3897313"/>
              <a:ext cx="404812" cy="600075"/>
            </a:xfrm>
            <a:custGeom>
              <a:avLst/>
              <a:gdLst>
                <a:gd name="T0" fmla="*/ 7 w 108"/>
                <a:gd name="T1" fmla="*/ 66 h 160"/>
                <a:gd name="T2" fmla="*/ 5 w 108"/>
                <a:gd name="T3" fmla="*/ 72 h 160"/>
                <a:gd name="T4" fmla="*/ 4 w 108"/>
                <a:gd name="T5" fmla="*/ 76 h 160"/>
                <a:gd name="T6" fmla="*/ 8 w 108"/>
                <a:gd name="T7" fmla="*/ 77 h 160"/>
                <a:gd name="T8" fmla="*/ 23 w 108"/>
                <a:gd name="T9" fmla="*/ 82 h 160"/>
                <a:gd name="T10" fmla="*/ 23 w 108"/>
                <a:gd name="T11" fmla="*/ 89 h 160"/>
                <a:gd name="T12" fmla="*/ 15 w 108"/>
                <a:gd name="T13" fmla="*/ 95 h 160"/>
                <a:gd name="T14" fmla="*/ 13 w 108"/>
                <a:gd name="T15" fmla="*/ 99 h 160"/>
                <a:gd name="T16" fmla="*/ 35 w 108"/>
                <a:gd name="T17" fmla="*/ 122 h 160"/>
                <a:gd name="T18" fmla="*/ 44 w 108"/>
                <a:gd name="T19" fmla="*/ 160 h 160"/>
                <a:gd name="T20" fmla="*/ 108 w 108"/>
                <a:gd name="T21" fmla="*/ 160 h 160"/>
                <a:gd name="T22" fmla="*/ 106 w 108"/>
                <a:gd name="T23" fmla="*/ 121 h 160"/>
                <a:gd name="T24" fmla="*/ 96 w 108"/>
                <a:gd name="T25" fmla="*/ 111 h 160"/>
                <a:gd name="T26" fmla="*/ 80 w 108"/>
                <a:gd name="T27" fmla="*/ 105 h 160"/>
                <a:gd name="T28" fmla="*/ 70 w 108"/>
                <a:gd name="T29" fmla="*/ 100 h 160"/>
                <a:gd name="T30" fmla="*/ 65 w 108"/>
                <a:gd name="T31" fmla="*/ 95 h 160"/>
                <a:gd name="T32" fmla="*/ 58 w 108"/>
                <a:gd name="T33" fmla="*/ 89 h 160"/>
                <a:gd name="T34" fmla="*/ 58 w 108"/>
                <a:gd name="T35" fmla="*/ 82 h 160"/>
                <a:gd name="T36" fmla="*/ 73 w 108"/>
                <a:gd name="T37" fmla="*/ 77 h 160"/>
                <a:gd name="T38" fmla="*/ 77 w 108"/>
                <a:gd name="T39" fmla="*/ 76 h 160"/>
                <a:gd name="T40" fmla="*/ 75 w 108"/>
                <a:gd name="T41" fmla="*/ 72 h 160"/>
                <a:gd name="T42" fmla="*/ 73 w 108"/>
                <a:gd name="T43" fmla="*/ 66 h 160"/>
                <a:gd name="T44" fmla="*/ 81 w 108"/>
                <a:gd name="T45" fmla="*/ 73 h 160"/>
                <a:gd name="T46" fmla="*/ 75 w 108"/>
                <a:gd name="T47" fmla="*/ 58 h 160"/>
                <a:gd name="T48" fmla="*/ 72 w 108"/>
                <a:gd name="T49" fmla="*/ 44 h 160"/>
                <a:gd name="T50" fmla="*/ 67 w 108"/>
                <a:gd name="T51" fmla="*/ 17 h 160"/>
                <a:gd name="T52" fmla="*/ 59 w 108"/>
                <a:gd name="T53" fmla="*/ 6 h 160"/>
                <a:gd name="T54" fmla="*/ 41 w 108"/>
                <a:gd name="T55" fmla="*/ 0 h 160"/>
                <a:gd name="T56" fmla="*/ 40 w 108"/>
                <a:gd name="T57" fmla="*/ 0 h 160"/>
                <a:gd name="T58" fmla="*/ 40 w 108"/>
                <a:gd name="T59" fmla="*/ 0 h 160"/>
                <a:gd name="T60" fmla="*/ 22 w 108"/>
                <a:gd name="T61" fmla="*/ 6 h 160"/>
                <a:gd name="T62" fmla="*/ 14 w 108"/>
                <a:gd name="T63" fmla="*/ 17 h 160"/>
                <a:gd name="T64" fmla="*/ 9 w 108"/>
                <a:gd name="T65" fmla="*/ 44 h 160"/>
                <a:gd name="T66" fmla="*/ 6 w 108"/>
                <a:gd name="T67" fmla="*/ 59 h 160"/>
                <a:gd name="T68" fmla="*/ 0 w 108"/>
                <a:gd name="T69" fmla="*/ 73 h 160"/>
                <a:gd name="T70" fmla="*/ 7 w 108"/>
                <a:gd name="T71" fmla="*/ 6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60">
                  <a:moveTo>
                    <a:pt x="7" y="66"/>
                  </a:moveTo>
                  <a:cubicBezTo>
                    <a:pt x="7" y="66"/>
                    <a:pt x="6" y="72"/>
                    <a:pt x="5" y="72"/>
                  </a:cubicBezTo>
                  <a:cubicBezTo>
                    <a:pt x="5" y="73"/>
                    <a:pt x="3" y="76"/>
                    <a:pt x="4" y="76"/>
                  </a:cubicBezTo>
                  <a:cubicBezTo>
                    <a:pt x="4" y="76"/>
                    <a:pt x="8" y="77"/>
                    <a:pt x="8" y="77"/>
                  </a:cubicBezTo>
                  <a:cubicBezTo>
                    <a:pt x="23" y="82"/>
                    <a:pt x="23" y="82"/>
                    <a:pt x="23" y="82"/>
                  </a:cubicBezTo>
                  <a:cubicBezTo>
                    <a:pt x="23" y="89"/>
                    <a:pt x="23" y="89"/>
                    <a:pt x="23" y="89"/>
                  </a:cubicBezTo>
                  <a:cubicBezTo>
                    <a:pt x="21" y="89"/>
                    <a:pt x="16" y="93"/>
                    <a:pt x="15" y="95"/>
                  </a:cubicBezTo>
                  <a:cubicBezTo>
                    <a:pt x="15" y="96"/>
                    <a:pt x="14" y="98"/>
                    <a:pt x="13" y="99"/>
                  </a:cubicBezTo>
                  <a:cubicBezTo>
                    <a:pt x="27" y="105"/>
                    <a:pt x="35" y="113"/>
                    <a:pt x="35" y="122"/>
                  </a:cubicBezTo>
                  <a:cubicBezTo>
                    <a:pt x="35" y="123"/>
                    <a:pt x="44" y="153"/>
                    <a:pt x="44" y="160"/>
                  </a:cubicBezTo>
                  <a:cubicBezTo>
                    <a:pt x="108" y="160"/>
                    <a:pt x="108" y="160"/>
                    <a:pt x="108" y="160"/>
                  </a:cubicBezTo>
                  <a:cubicBezTo>
                    <a:pt x="108" y="160"/>
                    <a:pt x="106" y="121"/>
                    <a:pt x="106" y="121"/>
                  </a:cubicBezTo>
                  <a:cubicBezTo>
                    <a:pt x="106" y="121"/>
                    <a:pt x="102" y="112"/>
                    <a:pt x="96" y="111"/>
                  </a:cubicBezTo>
                  <a:cubicBezTo>
                    <a:pt x="91" y="110"/>
                    <a:pt x="83" y="108"/>
                    <a:pt x="80" y="105"/>
                  </a:cubicBezTo>
                  <a:cubicBezTo>
                    <a:pt x="78" y="104"/>
                    <a:pt x="72" y="101"/>
                    <a:pt x="70" y="100"/>
                  </a:cubicBezTo>
                  <a:cubicBezTo>
                    <a:pt x="68" y="100"/>
                    <a:pt x="66" y="96"/>
                    <a:pt x="65" y="95"/>
                  </a:cubicBezTo>
                  <a:cubicBezTo>
                    <a:pt x="65" y="93"/>
                    <a:pt x="59" y="89"/>
                    <a:pt x="58" y="89"/>
                  </a:cubicBezTo>
                  <a:cubicBezTo>
                    <a:pt x="58" y="82"/>
                    <a:pt x="58" y="82"/>
                    <a:pt x="58" y="82"/>
                  </a:cubicBezTo>
                  <a:cubicBezTo>
                    <a:pt x="73" y="77"/>
                    <a:pt x="73" y="77"/>
                    <a:pt x="73" y="77"/>
                  </a:cubicBezTo>
                  <a:cubicBezTo>
                    <a:pt x="73" y="77"/>
                    <a:pt x="77" y="76"/>
                    <a:pt x="77" y="76"/>
                  </a:cubicBezTo>
                  <a:cubicBezTo>
                    <a:pt x="78" y="76"/>
                    <a:pt x="75" y="73"/>
                    <a:pt x="75" y="72"/>
                  </a:cubicBezTo>
                  <a:cubicBezTo>
                    <a:pt x="75" y="71"/>
                    <a:pt x="73" y="66"/>
                    <a:pt x="73" y="66"/>
                  </a:cubicBezTo>
                  <a:cubicBezTo>
                    <a:pt x="73" y="66"/>
                    <a:pt x="79" y="72"/>
                    <a:pt x="81" y="73"/>
                  </a:cubicBezTo>
                  <a:cubicBezTo>
                    <a:pt x="81" y="73"/>
                    <a:pt x="76" y="64"/>
                    <a:pt x="75" y="58"/>
                  </a:cubicBezTo>
                  <a:cubicBezTo>
                    <a:pt x="73" y="53"/>
                    <a:pt x="72" y="45"/>
                    <a:pt x="72" y="44"/>
                  </a:cubicBezTo>
                  <a:cubicBezTo>
                    <a:pt x="72" y="43"/>
                    <a:pt x="69" y="21"/>
                    <a:pt x="67" y="17"/>
                  </a:cubicBezTo>
                  <a:cubicBezTo>
                    <a:pt x="65" y="14"/>
                    <a:pt x="63" y="8"/>
                    <a:pt x="59" y="6"/>
                  </a:cubicBezTo>
                  <a:cubicBezTo>
                    <a:pt x="55" y="4"/>
                    <a:pt x="49" y="0"/>
                    <a:pt x="41" y="0"/>
                  </a:cubicBezTo>
                  <a:cubicBezTo>
                    <a:pt x="41" y="0"/>
                    <a:pt x="41" y="0"/>
                    <a:pt x="40" y="0"/>
                  </a:cubicBezTo>
                  <a:cubicBezTo>
                    <a:pt x="40" y="0"/>
                    <a:pt x="40" y="0"/>
                    <a:pt x="40" y="0"/>
                  </a:cubicBezTo>
                  <a:cubicBezTo>
                    <a:pt x="32" y="0"/>
                    <a:pt x="26" y="4"/>
                    <a:pt x="22" y="6"/>
                  </a:cubicBezTo>
                  <a:cubicBezTo>
                    <a:pt x="18" y="8"/>
                    <a:pt x="15" y="14"/>
                    <a:pt x="14" y="17"/>
                  </a:cubicBezTo>
                  <a:cubicBezTo>
                    <a:pt x="12" y="21"/>
                    <a:pt x="9" y="43"/>
                    <a:pt x="9" y="44"/>
                  </a:cubicBezTo>
                  <a:cubicBezTo>
                    <a:pt x="9" y="45"/>
                    <a:pt x="8" y="53"/>
                    <a:pt x="6" y="59"/>
                  </a:cubicBezTo>
                  <a:cubicBezTo>
                    <a:pt x="5" y="64"/>
                    <a:pt x="0" y="73"/>
                    <a:pt x="0" y="73"/>
                  </a:cubicBezTo>
                  <a:cubicBezTo>
                    <a:pt x="2" y="72"/>
                    <a:pt x="7" y="66"/>
                    <a:pt x="7" y="66"/>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7" name="Freeform 155"/>
            <p:cNvSpPr>
              <a:spLocks/>
            </p:cNvSpPr>
            <p:nvPr/>
          </p:nvSpPr>
          <p:spPr bwMode="auto">
            <a:xfrm>
              <a:off x="6816726" y="3875088"/>
              <a:ext cx="409575" cy="608013"/>
            </a:xfrm>
            <a:custGeom>
              <a:avLst/>
              <a:gdLst>
                <a:gd name="T0" fmla="*/ 71 w 109"/>
                <a:gd name="T1" fmla="*/ 134 h 162"/>
                <a:gd name="T2" fmla="*/ 71 w 109"/>
                <a:gd name="T3" fmla="*/ 133 h 162"/>
                <a:gd name="T4" fmla="*/ 71 w 109"/>
                <a:gd name="T5" fmla="*/ 133 h 162"/>
                <a:gd name="T6" fmla="*/ 108 w 109"/>
                <a:gd name="T7" fmla="*/ 102 h 162"/>
                <a:gd name="T8" fmla="*/ 108 w 109"/>
                <a:gd name="T9" fmla="*/ 102 h 162"/>
                <a:gd name="T10" fmla="*/ 95 w 109"/>
                <a:gd name="T11" fmla="*/ 96 h 162"/>
                <a:gd name="T12" fmla="*/ 93 w 109"/>
                <a:gd name="T13" fmla="*/ 83 h 162"/>
                <a:gd name="T14" fmla="*/ 104 w 109"/>
                <a:gd name="T15" fmla="*/ 61 h 162"/>
                <a:gd name="T16" fmla="*/ 108 w 109"/>
                <a:gd name="T17" fmla="*/ 55 h 162"/>
                <a:gd name="T18" fmla="*/ 105 w 109"/>
                <a:gd name="T19" fmla="*/ 43 h 162"/>
                <a:gd name="T20" fmla="*/ 105 w 109"/>
                <a:gd name="T21" fmla="*/ 34 h 162"/>
                <a:gd name="T22" fmla="*/ 96 w 109"/>
                <a:gd name="T23" fmla="*/ 13 h 162"/>
                <a:gd name="T24" fmla="*/ 87 w 109"/>
                <a:gd name="T25" fmla="*/ 7 h 162"/>
                <a:gd name="T26" fmla="*/ 80 w 109"/>
                <a:gd name="T27" fmla="*/ 5 h 162"/>
                <a:gd name="T28" fmla="*/ 80 w 109"/>
                <a:gd name="T29" fmla="*/ 7 h 162"/>
                <a:gd name="T30" fmla="*/ 80 w 109"/>
                <a:gd name="T31" fmla="*/ 7 h 162"/>
                <a:gd name="T32" fmla="*/ 79 w 109"/>
                <a:gd name="T33" fmla="*/ 2 h 162"/>
                <a:gd name="T34" fmla="*/ 79 w 109"/>
                <a:gd name="T35" fmla="*/ 0 h 162"/>
                <a:gd name="T36" fmla="*/ 70 w 109"/>
                <a:gd name="T37" fmla="*/ 9 h 162"/>
                <a:gd name="T38" fmla="*/ 71 w 109"/>
                <a:gd name="T39" fmla="*/ 4 h 162"/>
                <a:gd name="T40" fmla="*/ 58 w 109"/>
                <a:gd name="T41" fmla="*/ 13 h 162"/>
                <a:gd name="T42" fmla="*/ 49 w 109"/>
                <a:gd name="T43" fmla="*/ 36 h 162"/>
                <a:gd name="T44" fmla="*/ 50 w 109"/>
                <a:gd name="T45" fmla="*/ 43 h 162"/>
                <a:gd name="T46" fmla="*/ 48 w 109"/>
                <a:gd name="T47" fmla="*/ 55 h 162"/>
                <a:gd name="T48" fmla="*/ 53 w 109"/>
                <a:gd name="T49" fmla="*/ 63 h 162"/>
                <a:gd name="T50" fmla="*/ 61 w 109"/>
                <a:gd name="T51" fmla="*/ 83 h 162"/>
                <a:gd name="T52" fmla="*/ 59 w 109"/>
                <a:gd name="T53" fmla="*/ 96 h 162"/>
                <a:gd name="T54" fmla="*/ 42 w 109"/>
                <a:gd name="T55" fmla="*/ 104 h 162"/>
                <a:gd name="T56" fmla="*/ 19 w 109"/>
                <a:gd name="T57" fmla="*/ 112 h 162"/>
                <a:gd name="T58" fmla="*/ 4 w 109"/>
                <a:gd name="T59" fmla="*/ 162 h 162"/>
                <a:gd name="T60" fmla="*/ 64 w 109"/>
                <a:gd name="T61" fmla="*/ 162 h 162"/>
                <a:gd name="T62" fmla="*/ 71 w 109"/>
                <a:gd name="T63" fmla="*/ 13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162">
                  <a:moveTo>
                    <a:pt x="71" y="134"/>
                  </a:moveTo>
                  <a:cubicBezTo>
                    <a:pt x="71" y="133"/>
                    <a:pt x="71" y="133"/>
                    <a:pt x="71" y="133"/>
                  </a:cubicBezTo>
                  <a:cubicBezTo>
                    <a:pt x="71" y="133"/>
                    <a:pt x="71" y="133"/>
                    <a:pt x="71" y="133"/>
                  </a:cubicBezTo>
                  <a:cubicBezTo>
                    <a:pt x="75" y="115"/>
                    <a:pt x="96" y="107"/>
                    <a:pt x="108" y="102"/>
                  </a:cubicBezTo>
                  <a:cubicBezTo>
                    <a:pt x="108" y="102"/>
                    <a:pt x="108" y="102"/>
                    <a:pt x="108" y="102"/>
                  </a:cubicBezTo>
                  <a:cubicBezTo>
                    <a:pt x="101" y="98"/>
                    <a:pt x="97" y="96"/>
                    <a:pt x="95" y="96"/>
                  </a:cubicBezTo>
                  <a:cubicBezTo>
                    <a:pt x="95" y="94"/>
                    <a:pt x="93" y="83"/>
                    <a:pt x="93" y="83"/>
                  </a:cubicBezTo>
                  <a:cubicBezTo>
                    <a:pt x="93" y="83"/>
                    <a:pt x="102" y="76"/>
                    <a:pt x="104" y="61"/>
                  </a:cubicBezTo>
                  <a:cubicBezTo>
                    <a:pt x="104" y="61"/>
                    <a:pt x="108" y="64"/>
                    <a:pt x="108" y="55"/>
                  </a:cubicBezTo>
                  <a:cubicBezTo>
                    <a:pt x="108" y="48"/>
                    <a:pt x="109" y="45"/>
                    <a:pt x="105" y="43"/>
                  </a:cubicBezTo>
                  <a:cubicBezTo>
                    <a:pt x="105" y="43"/>
                    <a:pt x="105" y="39"/>
                    <a:pt x="105" y="34"/>
                  </a:cubicBezTo>
                  <a:cubicBezTo>
                    <a:pt x="105" y="28"/>
                    <a:pt x="107" y="20"/>
                    <a:pt x="96" y="13"/>
                  </a:cubicBezTo>
                  <a:cubicBezTo>
                    <a:pt x="94" y="12"/>
                    <a:pt x="87" y="7"/>
                    <a:pt x="87" y="7"/>
                  </a:cubicBezTo>
                  <a:cubicBezTo>
                    <a:pt x="84" y="6"/>
                    <a:pt x="80" y="5"/>
                    <a:pt x="80" y="5"/>
                  </a:cubicBezTo>
                  <a:cubicBezTo>
                    <a:pt x="80" y="7"/>
                    <a:pt x="80" y="7"/>
                    <a:pt x="80" y="7"/>
                  </a:cubicBezTo>
                  <a:cubicBezTo>
                    <a:pt x="80" y="7"/>
                    <a:pt x="80" y="7"/>
                    <a:pt x="80" y="7"/>
                  </a:cubicBezTo>
                  <a:cubicBezTo>
                    <a:pt x="79" y="6"/>
                    <a:pt x="79" y="3"/>
                    <a:pt x="79" y="2"/>
                  </a:cubicBezTo>
                  <a:cubicBezTo>
                    <a:pt x="79" y="0"/>
                    <a:pt x="79" y="0"/>
                    <a:pt x="79" y="0"/>
                  </a:cubicBezTo>
                  <a:cubicBezTo>
                    <a:pt x="74" y="4"/>
                    <a:pt x="70" y="9"/>
                    <a:pt x="70" y="9"/>
                  </a:cubicBezTo>
                  <a:cubicBezTo>
                    <a:pt x="71" y="4"/>
                    <a:pt x="71" y="4"/>
                    <a:pt x="71" y="4"/>
                  </a:cubicBezTo>
                  <a:cubicBezTo>
                    <a:pt x="71" y="4"/>
                    <a:pt x="70" y="5"/>
                    <a:pt x="58" y="13"/>
                  </a:cubicBezTo>
                  <a:cubicBezTo>
                    <a:pt x="47" y="20"/>
                    <a:pt x="49" y="30"/>
                    <a:pt x="49" y="36"/>
                  </a:cubicBezTo>
                  <a:cubicBezTo>
                    <a:pt x="49" y="40"/>
                    <a:pt x="50" y="43"/>
                    <a:pt x="50" y="43"/>
                  </a:cubicBezTo>
                  <a:cubicBezTo>
                    <a:pt x="45" y="45"/>
                    <a:pt x="48" y="48"/>
                    <a:pt x="48" y="55"/>
                  </a:cubicBezTo>
                  <a:cubicBezTo>
                    <a:pt x="48" y="64"/>
                    <a:pt x="53" y="63"/>
                    <a:pt x="53" y="63"/>
                  </a:cubicBezTo>
                  <a:cubicBezTo>
                    <a:pt x="55" y="75"/>
                    <a:pt x="61" y="83"/>
                    <a:pt x="61" y="83"/>
                  </a:cubicBezTo>
                  <a:cubicBezTo>
                    <a:pt x="61" y="83"/>
                    <a:pt x="59" y="94"/>
                    <a:pt x="59" y="96"/>
                  </a:cubicBezTo>
                  <a:cubicBezTo>
                    <a:pt x="57" y="96"/>
                    <a:pt x="52" y="99"/>
                    <a:pt x="42" y="104"/>
                  </a:cubicBezTo>
                  <a:cubicBezTo>
                    <a:pt x="27" y="110"/>
                    <a:pt x="31" y="106"/>
                    <a:pt x="19" y="112"/>
                  </a:cubicBezTo>
                  <a:cubicBezTo>
                    <a:pt x="0" y="122"/>
                    <a:pt x="4" y="162"/>
                    <a:pt x="4" y="162"/>
                  </a:cubicBezTo>
                  <a:cubicBezTo>
                    <a:pt x="64" y="162"/>
                    <a:pt x="64" y="162"/>
                    <a:pt x="64" y="162"/>
                  </a:cubicBezTo>
                  <a:lnTo>
                    <a:pt x="71" y="134"/>
                  </a:ln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8" name="Freeform 156"/>
            <p:cNvSpPr>
              <a:spLocks/>
            </p:cNvSpPr>
            <p:nvPr/>
          </p:nvSpPr>
          <p:spPr bwMode="auto">
            <a:xfrm>
              <a:off x="7067550" y="3825876"/>
              <a:ext cx="635000" cy="754063"/>
            </a:xfrm>
            <a:custGeom>
              <a:avLst/>
              <a:gdLst>
                <a:gd name="T0" fmla="*/ 169 w 169"/>
                <a:gd name="T1" fmla="*/ 201 h 201"/>
                <a:gd name="T2" fmla="*/ 156 w 169"/>
                <a:gd name="T3" fmla="*/ 141 h 201"/>
                <a:gd name="T4" fmla="*/ 128 w 169"/>
                <a:gd name="T5" fmla="*/ 122 h 201"/>
                <a:gd name="T6" fmla="*/ 111 w 169"/>
                <a:gd name="T7" fmla="*/ 114 h 201"/>
                <a:gd name="T8" fmla="*/ 110 w 169"/>
                <a:gd name="T9" fmla="*/ 107 h 201"/>
                <a:gd name="T10" fmla="*/ 104 w 169"/>
                <a:gd name="T11" fmla="*/ 106 h 201"/>
                <a:gd name="T12" fmla="*/ 103 w 169"/>
                <a:gd name="T13" fmla="*/ 98 h 201"/>
                <a:gd name="T14" fmla="*/ 110 w 169"/>
                <a:gd name="T15" fmla="*/ 82 h 201"/>
                <a:gd name="T16" fmla="*/ 117 w 169"/>
                <a:gd name="T17" fmla="*/ 73 h 201"/>
                <a:gd name="T18" fmla="*/ 114 w 169"/>
                <a:gd name="T19" fmla="*/ 59 h 201"/>
                <a:gd name="T20" fmla="*/ 114 w 169"/>
                <a:gd name="T21" fmla="*/ 31 h 201"/>
                <a:gd name="T22" fmla="*/ 64 w 169"/>
                <a:gd name="T23" fmla="*/ 18 h 201"/>
                <a:gd name="T24" fmla="*/ 52 w 169"/>
                <a:gd name="T25" fmla="*/ 51 h 201"/>
                <a:gd name="T26" fmla="*/ 55 w 169"/>
                <a:gd name="T27" fmla="*/ 60 h 201"/>
                <a:gd name="T28" fmla="*/ 54 w 169"/>
                <a:gd name="T29" fmla="*/ 75 h 201"/>
                <a:gd name="T30" fmla="*/ 59 w 169"/>
                <a:gd name="T31" fmla="*/ 82 h 201"/>
                <a:gd name="T32" fmla="*/ 67 w 169"/>
                <a:gd name="T33" fmla="*/ 98 h 201"/>
                <a:gd name="T34" fmla="*/ 67 w 169"/>
                <a:gd name="T35" fmla="*/ 106 h 201"/>
                <a:gd name="T36" fmla="*/ 61 w 169"/>
                <a:gd name="T37" fmla="*/ 107 h 201"/>
                <a:gd name="T38" fmla="*/ 60 w 169"/>
                <a:gd name="T39" fmla="*/ 113 h 201"/>
                <a:gd name="T40" fmla="*/ 44 w 169"/>
                <a:gd name="T41" fmla="*/ 121 h 201"/>
                <a:gd name="T42" fmla="*/ 11 w 169"/>
                <a:gd name="T43" fmla="*/ 147 h 201"/>
                <a:gd name="T44" fmla="*/ 0 w 169"/>
                <a:gd name="T45" fmla="*/ 201 h 201"/>
                <a:gd name="T46" fmla="*/ 169 w 169"/>
                <a:gd name="T4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1">
                  <a:moveTo>
                    <a:pt x="169" y="201"/>
                  </a:moveTo>
                  <a:cubicBezTo>
                    <a:pt x="169" y="190"/>
                    <a:pt x="156" y="141"/>
                    <a:pt x="156" y="141"/>
                  </a:cubicBezTo>
                  <a:cubicBezTo>
                    <a:pt x="156" y="134"/>
                    <a:pt x="146" y="126"/>
                    <a:pt x="128" y="122"/>
                  </a:cubicBezTo>
                  <a:cubicBezTo>
                    <a:pt x="119" y="119"/>
                    <a:pt x="111" y="114"/>
                    <a:pt x="111" y="114"/>
                  </a:cubicBezTo>
                  <a:cubicBezTo>
                    <a:pt x="109" y="113"/>
                    <a:pt x="110" y="107"/>
                    <a:pt x="110" y="107"/>
                  </a:cubicBezTo>
                  <a:cubicBezTo>
                    <a:pt x="104" y="106"/>
                    <a:pt x="104" y="106"/>
                    <a:pt x="104" y="106"/>
                  </a:cubicBezTo>
                  <a:cubicBezTo>
                    <a:pt x="104" y="105"/>
                    <a:pt x="103" y="98"/>
                    <a:pt x="103" y="98"/>
                  </a:cubicBezTo>
                  <a:cubicBezTo>
                    <a:pt x="110" y="96"/>
                    <a:pt x="110" y="82"/>
                    <a:pt x="110" y="82"/>
                  </a:cubicBezTo>
                  <a:cubicBezTo>
                    <a:pt x="114" y="84"/>
                    <a:pt x="117" y="73"/>
                    <a:pt x="117" y="73"/>
                  </a:cubicBezTo>
                  <a:cubicBezTo>
                    <a:pt x="122" y="58"/>
                    <a:pt x="114" y="59"/>
                    <a:pt x="114" y="59"/>
                  </a:cubicBezTo>
                  <a:cubicBezTo>
                    <a:pt x="117" y="48"/>
                    <a:pt x="114" y="31"/>
                    <a:pt x="114" y="31"/>
                  </a:cubicBezTo>
                  <a:cubicBezTo>
                    <a:pt x="111" y="0"/>
                    <a:pt x="58" y="8"/>
                    <a:pt x="64" y="18"/>
                  </a:cubicBezTo>
                  <a:cubicBezTo>
                    <a:pt x="48" y="16"/>
                    <a:pt x="52" y="51"/>
                    <a:pt x="52" y="51"/>
                  </a:cubicBezTo>
                  <a:cubicBezTo>
                    <a:pt x="55" y="60"/>
                    <a:pt x="55" y="60"/>
                    <a:pt x="55" y="60"/>
                  </a:cubicBezTo>
                  <a:cubicBezTo>
                    <a:pt x="49" y="64"/>
                    <a:pt x="53" y="69"/>
                    <a:pt x="54" y="75"/>
                  </a:cubicBezTo>
                  <a:cubicBezTo>
                    <a:pt x="54" y="84"/>
                    <a:pt x="59" y="82"/>
                    <a:pt x="59" y="82"/>
                  </a:cubicBezTo>
                  <a:cubicBezTo>
                    <a:pt x="60" y="97"/>
                    <a:pt x="67" y="98"/>
                    <a:pt x="67" y="98"/>
                  </a:cubicBezTo>
                  <a:cubicBezTo>
                    <a:pt x="68" y="107"/>
                    <a:pt x="67" y="106"/>
                    <a:pt x="67" y="106"/>
                  </a:cubicBezTo>
                  <a:cubicBezTo>
                    <a:pt x="61" y="107"/>
                    <a:pt x="61" y="107"/>
                    <a:pt x="61" y="107"/>
                  </a:cubicBezTo>
                  <a:cubicBezTo>
                    <a:pt x="61" y="109"/>
                    <a:pt x="60" y="113"/>
                    <a:pt x="60" y="113"/>
                  </a:cubicBezTo>
                  <a:cubicBezTo>
                    <a:pt x="53" y="116"/>
                    <a:pt x="51" y="118"/>
                    <a:pt x="44" y="121"/>
                  </a:cubicBezTo>
                  <a:cubicBezTo>
                    <a:pt x="29" y="128"/>
                    <a:pt x="14" y="136"/>
                    <a:pt x="11" y="147"/>
                  </a:cubicBezTo>
                  <a:cubicBezTo>
                    <a:pt x="8" y="158"/>
                    <a:pt x="0" y="201"/>
                    <a:pt x="0" y="201"/>
                  </a:cubicBezTo>
                  <a:cubicBezTo>
                    <a:pt x="169" y="201"/>
                    <a:pt x="169" y="201"/>
                    <a:pt x="169" y="201"/>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45413" y="2244045"/>
            <a:ext cx="5337193" cy="4070325"/>
          </a:xfrm>
          <a:prstGeom prst="rect">
            <a:avLst/>
          </a:prstGeom>
        </p:spPr>
      </p:pic>
    </p:spTree>
    <p:extLst>
      <p:ext uri="{BB962C8B-B14F-4D97-AF65-F5344CB8AC3E}">
        <p14:creationId xmlns:p14="http://schemas.microsoft.com/office/powerpoint/2010/main" val="27568884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1+#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4" decel="100000" fill="hold" grpId="0" nodeType="withEffect" nodePh="1">
                                  <p:stCondLst>
                                    <p:cond delay="0"/>
                                  </p:stCondLst>
                                  <p:endCondLst>
                                    <p:cond evt="begin" delay="0">
                                      <p:tn val="13"/>
                                    </p:cond>
                                  </p:end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ppt_x"/>
                                          </p:val>
                                        </p:tav>
                                        <p:tav tm="100000">
                                          <p:val>
                                            <p:strVal val="#ppt_x"/>
                                          </p:val>
                                        </p:tav>
                                      </p:tavLst>
                                    </p:anim>
                                    <p:anim calcmode="lin" valueType="num">
                                      <p:cBhvr additive="base">
                                        <p:cTn id="16" dur="75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grpId="0" nodeType="clickEffect" nodePh="1">
                                  <p:stCondLst>
                                    <p:cond delay="0"/>
                                  </p:stCondLst>
                                  <p:endCondLst>
                                    <p:cond evt="begin" delay="0">
                                      <p:tn val="19"/>
                                    </p:cond>
                                  </p:endCondLst>
                                  <p:childTnLst>
                                    <p:set>
                                      <p:cBhvr>
                                        <p:cTn id="20" dur="1" fill="hold">
                                          <p:stCondLst>
                                            <p:cond delay="0"/>
                                          </p:stCondLst>
                                        </p:cTn>
                                        <p:tgtEl>
                                          <p:spTgt spid="209"/>
                                        </p:tgtEl>
                                        <p:attrNameLst>
                                          <p:attrName>style.visibility</p:attrName>
                                        </p:attrNameLst>
                                      </p:cBhvr>
                                      <p:to>
                                        <p:strVal val="visible"/>
                                      </p:to>
                                    </p:set>
                                    <p:anim calcmode="lin" valueType="num">
                                      <p:cBhvr additive="base">
                                        <p:cTn id="21" dur="750" fill="hold"/>
                                        <p:tgtEl>
                                          <p:spTgt spid="209"/>
                                        </p:tgtEl>
                                        <p:attrNameLst>
                                          <p:attrName>ppt_x</p:attrName>
                                        </p:attrNameLst>
                                      </p:cBhvr>
                                      <p:tavLst>
                                        <p:tav tm="0">
                                          <p:val>
                                            <p:strVal val="#ppt_x"/>
                                          </p:val>
                                        </p:tav>
                                        <p:tav tm="100000">
                                          <p:val>
                                            <p:strVal val="#ppt_x"/>
                                          </p:val>
                                        </p:tav>
                                      </p:tavLst>
                                    </p:anim>
                                    <p:anim calcmode="lin" valueType="num">
                                      <p:cBhvr additive="base">
                                        <p:cTn id="22" dur="750" fill="hold"/>
                                        <p:tgtEl>
                                          <p:spTgt spid="209"/>
                                        </p:tgtEl>
                                        <p:attrNameLst>
                                          <p:attrName>ppt_y</p:attrName>
                                        </p:attrNameLst>
                                      </p:cBhvr>
                                      <p:tavLst>
                                        <p:tav tm="0">
                                          <p:val>
                                            <p:strVal val="1+#ppt_h/2"/>
                                          </p:val>
                                        </p:tav>
                                        <p:tav tm="100000">
                                          <p:val>
                                            <p:strVal val="#ppt_y"/>
                                          </p:val>
                                        </p:tav>
                                      </p:tavLst>
                                    </p:anim>
                                  </p:childTnLst>
                                </p:cTn>
                              </p:par>
                              <p:par>
                                <p:cTn id="23" presetID="6" presetClass="emph" presetSubtype="0" decel="100000" fill="hold" nodeType="withEffect">
                                  <p:stCondLst>
                                    <p:cond delay="0"/>
                                  </p:stCondLst>
                                  <p:childTnLst>
                                    <p:animScale>
                                      <p:cBhvr>
                                        <p:cTn id="24" dur="750" fill="hold"/>
                                        <p:tgtEl>
                                          <p:spTgt spid="4"/>
                                        </p:tgtEl>
                                      </p:cBhvr>
                                      <p:by x="40000" y="40000"/>
                                    </p:animScale>
                                  </p:childTnLst>
                                </p:cTn>
                              </p:par>
                              <p:par>
                                <p:cTn id="25" presetID="42" presetClass="path" presetSubtype="0" decel="100000" fill="hold" nodeType="withEffect">
                                  <p:stCondLst>
                                    <p:cond delay="0"/>
                                  </p:stCondLst>
                                  <p:childTnLst>
                                    <p:animMotion origin="layout" path="M 1.83304E-6 -2.87335E-6 L -0.20998 -0.21561 " pathEditMode="relative" rAng="0" ptsTypes="AA">
                                      <p:cBhvr>
                                        <p:cTn id="26" dur="750" fill="hold"/>
                                        <p:tgtEl>
                                          <p:spTgt spid="4"/>
                                        </p:tgtEl>
                                        <p:attrNameLst>
                                          <p:attrName>ppt_x</p:attrName>
                                          <p:attrName>ppt_y</p:attrName>
                                        </p:attrNameLst>
                                      </p:cBhvr>
                                      <p:rCtr x="-10505" y="-10781"/>
                                    </p:animMotion>
                                  </p:childTnLst>
                                </p:cTn>
                              </p:par>
                              <p:par>
                                <p:cTn id="27" presetID="2" presetClass="entr" presetSubtype="4" decel="10000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750" fill="hold"/>
                                        <p:tgtEl>
                                          <p:spTgt spid="3"/>
                                        </p:tgtEl>
                                        <p:attrNameLst>
                                          <p:attrName>ppt_x</p:attrName>
                                        </p:attrNameLst>
                                      </p:cBhvr>
                                      <p:tavLst>
                                        <p:tav tm="0">
                                          <p:val>
                                            <p:strVal val="#ppt_x"/>
                                          </p:val>
                                        </p:tav>
                                        <p:tav tm="100000">
                                          <p:val>
                                            <p:strVal val="#ppt_x"/>
                                          </p:val>
                                        </p:tav>
                                      </p:tavLst>
                                    </p:anim>
                                    <p:anim calcmode="lin" valueType="num">
                                      <p:cBhvr additive="base">
                                        <p:cTn id="30" dur="750" fill="hold"/>
                                        <p:tgtEl>
                                          <p:spTgt spid="3"/>
                                        </p:tgtEl>
                                        <p:attrNameLst>
                                          <p:attrName>ppt_y</p:attrName>
                                        </p:attrNameLst>
                                      </p:cBhvr>
                                      <p:tavLst>
                                        <p:tav tm="0">
                                          <p:val>
                                            <p:strVal val="1+#ppt_h/2"/>
                                          </p:val>
                                        </p:tav>
                                        <p:tav tm="100000">
                                          <p:val>
                                            <p:strVal val="#ppt_y"/>
                                          </p:val>
                                        </p:tav>
                                      </p:tavLst>
                                    </p:anim>
                                  </p:childTnLst>
                                </p:cTn>
                              </p:par>
                            </p:childTnLst>
                          </p:cTn>
                        </p:par>
                        <p:par>
                          <p:cTn id="31" fill="hold">
                            <p:stCondLst>
                              <p:cond delay="750"/>
                            </p:stCondLst>
                            <p:childTnLst>
                              <p:par>
                                <p:cTn id="32" presetID="10" presetClass="entr" presetSubtype="0" fill="hold" grpId="0" nodeType="after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2" presetClass="entr" presetSubtype="2" decel="100000" fill="hold" nodeType="withEffect">
                                  <p:stCondLst>
                                    <p:cond delay="0"/>
                                  </p:stCondLst>
                                  <p:childTnLst>
                                    <p:set>
                                      <p:cBhvr>
                                        <p:cTn id="39" dur="1" fill="hold">
                                          <p:stCondLst>
                                            <p:cond delay="0"/>
                                          </p:stCondLst>
                                        </p:cTn>
                                        <p:tgtEl>
                                          <p:spTgt spid="5"/>
                                        </p:tgtEl>
                                        <p:attrNameLst>
                                          <p:attrName>style.visibility</p:attrName>
                                        </p:attrNameLst>
                                      </p:cBhvr>
                                      <p:to>
                                        <p:strVal val="visible"/>
                                      </p:to>
                                    </p:set>
                                    <p:anim calcmode="lin" valueType="num">
                                      <p:cBhvr additive="base">
                                        <p:cTn id="40" dur="750" fill="hold"/>
                                        <p:tgtEl>
                                          <p:spTgt spid="5"/>
                                        </p:tgtEl>
                                        <p:attrNameLst>
                                          <p:attrName>ppt_x</p:attrName>
                                        </p:attrNameLst>
                                      </p:cBhvr>
                                      <p:tavLst>
                                        <p:tav tm="0">
                                          <p:val>
                                            <p:strVal val="1+#ppt_w/2"/>
                                          </p:val>
                                        </p:tav>
                                        <p:tav tm="100000">
                                          <p:val>
                                            <p:strVal val="#ppt_x"/>
                                          </p:val>
                                        </p:tav>
                                      </p:tavLst>
                                    </p:anim>
                                    <p:anim calcmode="lin" valueType="num">
                                      <p:cBhvr additive="base">
                                        <p:cTn id="41" dur="750" fill="hold"/>
                                        <p:tgtEl>
                                          <p:spTgt spid="5"/>
                                        </p:tgtEl>
                                        <p:attrNameLst>
                                          <p:attrName>ppt_y</p:attrName>
                                        </p:attrNameLst>
                                      </p:cBhvr>
                                      <p:tavLst>
                                        <p:tav tm="0">
                                          <p:val>
                                            <p:strVal val="#ppt_y"/>
                                          </p:val>
                                        </p:tav>
                                        <p:tav tm="100000">
                                          <p:val>
                                            <p:strVal val="#ppt_y"/>
                                          </p:val>
                                        </p:tav>
                                      </p:tavLst>
                                    </p:anim>
                                  </p:childTnLst>
                                </p:cTn>
                              </p:par>
                              <p:par>
                                <p:cTn id="42" presetID="2" presetClass="entr" presetSubtype="2" decel="100000" fill="hold" nodeType="with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750" fill="hold"/>
                                        <p:tgtEl>
                                          <p:spTgt spid="10"/>
                                        </p:tgtEl>
                                        <p:attrNameLst>
                                          <p:attrName>ppt_x</p:attrName>
                                        </p:attrNameLst>
                                      </p:cBhvr>
                                      <p:tavLst>
                                        <p:tav tm="0">
                                          <p:val>
                                            <p:strVal val="1+#ppt_w/2"/>
                                          </p:val>
                                        </p:tav>
                                        <p:tav tm="100000">
                                          <p:val>
                                            <p:strVal val="#ppt_x"/>
                                          </p:val>
                                        </p:tav>
                                      </p:tavLst>
                                    </p:anim>
                                    <p:anim calcmode="lin" valueType="num">
                                      <p:cBhvr additive="base">
                                        <p:cTn id="45" dur="750" fill="hold"/>
                                        <p:tgtEl>
                                          <p:spTgt spid="10"/>
                                        </p:tgtEl>
                                        <p:attrNameLst>
                                          <p:attrName>ppt_y</p:attrName>
                                        </p:attrNameLst>
                                      </p:cBhvr>
                                      <p:tavLst>
                                        <p:tav tm="0">
                                          <p:val>
                                            <p:strVal val="#ppt_y"/>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750"/>
                                        <p:tgtEl>
                                          <p:spTgt spid="30"/>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grpId="0" nodeType="clickEffect">
                                  <p:stCondLst>
                                    <p:cond delay="0"/>
                                  </p:stCondLst>
                                  <p:childTnLst>
                                    <p:set>
                                      <p:cBhvr>
                                        <p:cTn id="52" dur="1" fill="hold">
                                          <p:stCondLst>
                                            <p:cond delay="0"/>
                                          </p:stCondLst>
                                        </p:cTn>
                                        <p:tgtEl>
                                          <p:spTgt spid="6"/>
                                        </p:tgtEl>
                                        <p:attrNameLst>
                                          <p:attrName>style.visibility</p:attrName>
                                        </p:attrNameLst>
                                      </p:cBhvr>
                                      <p:to>
                                        <p:strVal val="visible"/>
                                      </p:to>
                                    </p:set>
                                    <p:anim calcmode="lin" valueType="num">
                                      <p:cBhvr additive="base">
                                        <p:cTn id="53" dur="750" fill="hold"/>
                                        <p:tgtEl>
                                          <p:spTgt spid="6"/>
                                        </p:tgtEl>
                                        <p:attrNameLst>
                                          <p:attrName>ppt_x</p:attrName>
                                        </p:attrNameLst>
                                      </p:cBhvr>
                                      <p:tavLst>
                                        <p:tav tm="0">
                                          <p:val>
                                            <p:strVal val="#ppt_x"/>
                                          </p:val>
                                        </p:tav>
                                        <p:tav tm="100000">
                                          <p:val>
                                            <p:strVal val="#ppt_x"/>
                                          </p:val>
                                        </p:tav>
                                      </p:tavLst>
                                    </p:anim>
                                    <p:anim calcmode="lin" valueType="num">
                                      <p:cBhvr additive="base">
                                        <p:cTn id="54" dur="750" fill="hold"/>
                                        <p:tgtEl>
                                          <p:spTgt spid="6"/>
                                        </p:tgtEl>
                                        <p:attrNameLst>
                                          <p:attrName>ppt_y</p:attrName>
                                        </p:attrNameLst>
                                      </p:cBhvr>
                                      <p:tavLst>
                                        <p:tav tm="0">
                                          <p:val>
                                            <p:strVal val="1+#ppt_h/2"/>
                                          </p:val>
                                        </p:tav>
                                        <p:tav tm="100000">
                                          <p:val>
                                            <p:strVal val="#ppt_y"/>
                                          </p:val>
                                        </p:tav>
                                      </p:tavLst>
                                    </p:anim>
                                  </p:childTnLst>
                                </p:cTn>
                              </p:par>
                              <p:par>
                                <p:cTn id="55" presetID="2" presetClass="entr" presetSubtype="4" decel="100000" fill="hold" grpId="0" nodeType="withEffect" nodePh="1">
                                  <p:stCondLst>
                                    <p:cond delay="0"/>
                                  </p:stCondLst>
                                  <p:endCondLst>
                                    <p:cond evt="begin" delay="0">
                                      <p:tn val="55"/>
                                    </p:cond>
                                  </p:endCondLst>
                                  <p:childTnLst>
                                    <p:set>
                                      <p:cBhvr>
                                        <p:cTn id="56" dur="1" fill="hold">
                                          <p:stCondLst>
                                            <p:cond delay="0"/>
                                          </p:stCondLst>
                                        </p:cTn>
                                        <p:tgtEl>
                                          <p:spTgt spid="210"/>
                                        </p:tgtEl>
                                        <p:attrNameLst>
                                          <p:attrName>style.visibility</p:attrName>
                                        </p:attrNameLst>
                                      </p:cBhvr>
                                      <p:to>
                                        <p:strVal val="visible"/>
                                      </p:to>
                                    </p:set>
                                    <p:anim calcmode="lin" valueType="num">
                                      <p:cBhvr additive="base">
                                        <p:cTn id="57" dur="750" fill="hold"/>
                                        <p:tgtEl>
                                          <p:spTgt spid="210"/>
                                        </p:tgtEl>
                                        <p:attrNameLst>
                                          <p:attrName>ppt_x</p:attrName>
                                        </p:attrNameLst>
                                      </p:cBhvr>
                                      <p:tavLst>
                                        <p:tav tm="0">
                                          <p:val>
                                            <p:strVal val="#ppt_x"/>
                                          </p:val>
                                        </p:tav>
                                        <p:tav tm="100000">
                                          <p:val>
                                            <p:strVal val="#ppt_x"/>
                                          </p:val>
                                        </p:tav>
                                      </p:tavLst>
                                    </p:anim>
                                    <p:anim calcmode="lin" valueType="num">
                                      <p:cBhvr additive="base">
                                        <p:cTn id="58" dur="750" fill="hold"/>
                                        <p:tgtEl>
                                          <p:spTgt spid="210"/>
                                        </p:tgtEl>
                                        <p:attrNameLst>
                                          <p:attrName>ppt_y</p:attrName>
                                        </p:attrNameLst>
                                      </p:cBhvr>
                                      <p:tavLst>
                                        <p:tav tm="0">
                                          <p:val>
                                            <p:strVal val="1+#ppt_h/2"/>
                                          </p:val>
                                        </p:tav>
                                        <p:tav tm="100000">
                                          <p:val>
                                            <p:strVal val="#ppt_y"/>
                                          </p:val>
                                        </p:tav>
                                      </p:tavLst>
                                    </p:anim>
                                  </p:childTnLst>
                                </p:cTn>
                              </p:par>
                            </p:childTnLst>
                          </p:cTn>
                        </p:par>
                        <p:par>
                          <p:cTn id="59" fill="hold">
                            <p:stCondLst>
                              <p:cond delay="750"/>
                            </p:stCondLst>
                            <p:childTnLst>
                              <p:par>
                                <p:cTn id="60" presetID="22" presetClass="entr" presetSubtype="4" fill="hold" grpId="0" nodeType="after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wipe(down)">
                                      <p:cBhvr>
                                        <p:cTn id="62" dur="500"/>
                                        <p:tgtEl>
                                          <p:spTgt spid="29"/>
                                        </p:tgtEl>
                                      </p:cBhvr>
                                    </p:animEffect>
                                  </p:childTnLst>
                                </p:cTn>
                              </p:par>
                              <p:par>
                                <p:cTn id="63" presetID="22" presetClass="exit" presetSubtype="4" fill="hold" grpId="1" nodeType="withEffect">
                                  <p:stCondLst>
                                    <p:cond delay="250"/>
                                  </p:stCondLst>
                                  <p:childTnLst>
                                    <p:animEffect transition="out" filter="wipe(down)">
                                      <p:cBhvr>
                                        <p:cTn id="64" dur="500"/>
                                        <p:tgtEl>
                                          <p:spTgt spid="29"/>
                                        </p:tgtEl>
                                      </p:cBhvr>
                                    </p:animEffect>
                                    <p:set>
                                      <p:cBhvr>
                                        <p:cTn id="65" dur="1" fill="hold">
                                          <p:stCondLst>
                                            <p:cond delay="499"/>
                                          </p:stCondLst>
                                        </p:cTn>
                                        <p:tgtEl>
                                          <p:spTgt spid="29"/>
                                        </p:tgtEl>
                                        <p:attrNameLst>
                                          <p:attrName>style.visibility</p:attrName>
                                        </p:attrNameLst>
                                      </p:cBhvr>
                                      <p:to>
                                        <p:strVal val="hidden"/>
                                      </p:to>
                                    </p:set>
                                  </p:childTnLst>
                                </p:cTn>
                              </p:par>
                            </p:childTnLst>
                          </p:cTn>
                        </p:par>
                        <p:par>
                          <p:cTn id="66" fill="hold">
                            <p:stCondLst>
                              <p:cond delay="1500"/>
                            </p:stCondLst>
                            <p:childTnLst>
                              <p:par>
                                <p:cTn id="67" presetID="10" presetClass="entr" presetSubtype="0" fill="hold" grpId="0" nodeType="afterEffect">
                                  <p:stCondLst>
                                    <p:cond delay="0"/>
                                  </p:stCondLst>
                                  <p:childTnLst>
                                    <p:set>
                                      <p:cBhvr>
                                        <p:cTn id="68" dur="1" fill="hold">
                                          <p:stCondLst>
                                            <p:cond delay="0"/>
                                          </p:stCondLst>
                                        </p:cTn>
                                        <p:tgtEl>
                                          <p:spTgt spid="130"/>
                                        </p:tgtEl>
                                        <p:attrNameLst>
                                          <p:attrName>style.visibility</p:attrName>
                                        </p:attrNameLst>
                                      </p:cBhvr>
                                      <p:to>
                                        <p:strVal val="visible"/>
                                      </p:to>
                                    </p:set>
                                    <p:animEffect transition="in" filter="fade">
                                      <p:cBhvr>
                                        <p:cTn id="69" dur="500"/>
                                        <p:tgtEl>
                                          <p:spTgt spid="130"/>
                                        </p:tgtEl>
                                      </p:cBhvr>
                                    </p:animEffect>
                                  </p:childTnLst>
                                </p:cTn>
                              </p:par>
                              <p:par>
                                <p:cTn id="70" presetID="10" presetClass="entr" presetSubtype="0" fill="hold" nodeType="withEffect">
                                  <p:stCondLst>
                                    <p:cond delay="0"/>
                                  </p:stCondLst>
                                  <p:childTnLst>
                                    <p:set>
                                      <p:cBhvr>
                                        <p:cTn id="71" dur="1" fill="hold">
                                          <p:stCondLst>
                                            <p:cond delay="0"/>
                                          </p:stCondLst>
                                        </p:cTn>
                                        <p:tgtEl>
                                          <p:spTgt spid="165"/>
                                        </p:tgtEl>
                                        <p:attrNameLst>
                                          <p:attrName>style.visibility</p:attrName>
                                        </p:attrNameLst>
                                      </p:cBhvr>
                                      <p:to>
                                        <p:strVal val="visible"/>
                                      </p:to>
                                    </p:set>
                                    <p:animEffect transition="in" filter="fade">
                                      <p:cBhvr>
                                        <p:cTn id="72" dur="500"/>
                                        <p:tgtEl>
                                          <p:spTgt spid="165"/>
                                        </p:tgtEl>
                                      </p:cBhvr>
                                    </p:animEffect>
                                  </p:childTnLst>
                                </p:cTn>
                              </p:par>
                              <p:par>
                                <p:cTn id="73" presetID="10" presetClass="entr" presetSubtype="0" fill="hold" nodeType="withEffect">
                                  <p:stCondLst>
                                    <p:cond delay="0"/>
                                  </p:stCondLst>
                                  <p:childTnLst>
                                    <p:set>
                                      <p:cBhvr>
                                        <p:cTn id="74" dur="1" fill="hold">
                                          <p:stCondLst>
                                            <p:cond delay="0"/>
                                          </p:stCondLst>
                                        </p:cTn>
                                        <p:tgtEl>
                                          <p:spTgt spid="36"/>
                                        </p:tgtEl>
                                        <p:attrNameLst>
                                          <p:attrName>style.visibility</p:attrName>
                                        </p:attrNameLst>
                                      </p:cBhvr>
                                      <p:to>
                                        <p:strVal val="visible"/>
                                      </p:to>
                                    </p:set>
                                    <p:animEffect transition="in" filter="fade">
                                      <p:cBhvr>
                                        <p:cTn id="75" dur="500"/>
                                        <p:tgtEl>
                                          <p:spTgt spid="36"/>
                                        </p:tgtEl>
                                      </p:cBhvr>
                                    </p:animEffect>
                                  </p:childTnLst>
                                </p:cTn>
                              </p:par>
                            </p:childTnLst>
                          </p:cTn>
                        </p:par>
                        <p:par>
                          <p:cTn id="76" fill="hold">
                            <p:stCondLst>
                              <p:cond delay="2000"/>
                            </p:stCondLst>
                            <p:childTnLst>
                              <p:par>
                                <p:cTn id="77" presetID="22" presetClass="entr" presetSubtype="4" fill="hold" grpId="0"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down)">
                                      <p:cBhvr>
                                        <p:cTn id="79" dur="500"/>
                                        <p:tgtEl>
                                          <p:spTgt spid="131"/>
                                        </p:tgtEl>
                                      </p:cBhvr>
                                    </p:animEffect>
                                  </p:childTnLst>
                                </p:cTn>
                              </p:par>
                              <p:par>
                                <p:cTn id="80" presetID="22" presetClass="exit" presetSubtype="4" fill="hold" grpId="1" nodeType="withEffect">
                                  <p:stCondLst>
                                    <p:cond delay="250"/>
                                  </p:stCondLst>
                                  <p:childTnLst>
                                    <p:animEffect transition="out" filter="wipe(down)">
                                      <p:cBhvr>
                                        <p:cTn id="81" dur="500"/>
                                        <p:tgtEl>
                                          <p:spTgt spid="131"/>
                                        </p:tgtEl>
                                      </p:cBhvr>
                                    </p:animEffect>
                                    <p:set>
                                      <p:cBhvr>
                                        <p:cTn id="82" dur="1" fill="hold">
                                          <p:stCondLst>
                                            <p:cond delay="499"/>
                                          </p:stCondLst>
                                        </p:cTn>
                                        <p:tgtEl>
                                          <p:spTgt spid="131"/>
                                        </p:tgtEl>
                                        <p:attrNameLst>
                                          <p:attrName>style.visibility</p:attrName>
                                        </p:attrNameLst>
                                      </p:cBhvr>
                                      <p:to>
                                        <p:strVal val="hidden"/>
                                      </p:to>
                                    </p:set>
                                  </p:childTnLst>
                                </p:cTn>
                              </p:par>
                            </p:childTnLst>
                          </p:cTn>
                        </p:par>
                        <p:par>
                          <p:cTn id="83" fill="hold">
                            <p:stCondLst>
                              <p:cond delay="2750"/>
                            </p:stCondLst>
                            <p:childTnLst>
                              <p:par>
                                <p:cTn id="84" presetID="10" presetClass="entr" presetSubtype="0" fill="hold" grpId="0" nodeType="afterEffect">
                                  <p:stCondLst>
                                    <p:cond delay="0"/>
                                  </p:stCondLst>
                                  <p:childTnLst>
                                    <p:set>
                                      <p:cBhvr>
                                        <p:cTn id="85" dur="1" fill="hold">
                                          <p:stCondLst>
                                            <p:cond delay="0"/>
                                          </p:stCondLst>
                                        </p:cTn>
                                        <p:tgtEl>
                                          <p:spTgt spid="148"/>
                                        </p:tgtEl>
                                        <p:attrNameLst>
                                          <p:attrName>style.visibility</p:attrName>
                                        </p:attrNameLst>
                                      </p:cBhvr>
                                      <p:to>
                                        <p:strVal val="visible"/>
                                      </p:to>
                                    </p:set>
                                    <p:animEffect transition="in" filter="fade">
                                      <p:cBhvr>
                                        <p:cTn id="86" dur="500"/>
                                        <p:tgtEl>
                                          <p:spTgt spid="148"/>
                                        </p:tgtEl>
                                      </p:cBhvr>
                                    </p:animEffect>
                                  </p:childTnLst>
                                </p:cTn>
                              </p:par>
                              <p:par>
                                <p:cTn id="87" presetID="10" presetClass="entr" presetSubtype="0" fill="hold" nodeType="withEffect">
                                  <p:stCondLst>
                                    <p:cond delay="0"/>
                                  </p:stCondLst>
                                  <p:childTnLst>
                                    <p:set>
                                      <p:cBhvr>
                                        <p:cTn id="88" dur="1" fill="hold">
                                          <p:stCondLst>
                                            <p:cond delay="0"/>
                                          </p:stCondLst>
                                        </p:cTn>
                                        <p:tgtEl>
                                          <p:spTgt spid="139"/>
                                        </p:tgtEl>
                                        <p:attrNameLst>
                                          <p:attrName>style.visibility</p:attrName>
                                        </p:attrNameLst>
                                      </p:cBhvr>
                                      <p:to>
                                        <p:strVal val="visible"/>
                                      </p:to>
                                    </p:set>
                                    <p:animEffect transition="in" filter="fade">
                                      <p:cBhvr>
                                        <p:cTn id="89" dur="500"/>
                                        <p:tgtEl>
                                          <p:spTgt spid="139"/>
                                        </p:tgtEl>
                                      </p:cBhvr>
                                    </p:animEffect>
                                  </p:childTnLst>
                                </p:cTn>
                              </p:par>
                              <p:par>
                                <p:cTn id="90" presetID="10" presetClass="entr" presetSubtype="0" fill="hold" nodeType="withEffect">
                                  <p:stCondLst>
                                    <p:cond delay="0"/>
                                  </p:stCondLst>
                                  <p:childTnLst>
                                    <p:set>
                                      <p:cBhvr>
                                        <p:cTn id="91" dur="1" fill="hold">
                                          <p:stCondLst>
                                            <p:cond delay="0"/>
                                          </p:stCondLst>
                                        </p:cTn>
                                        <p:tgtEl>
                                          <p:spTgt spid="149"/>
                                        </p:tgtEl>
                                        <p:attrNameLst>
                                          <p:attrName>style.visibility</p:attrName>
                                        </p:attrNameLst>
                                      </p:cBhvr>
                                      <p:to>
                                        <p:strVal val="visible"/>
                                      </p:to>
                                    </p:set>
                                    <p:animEffect transition="in" filter="fade">
                                      <p:cBhvr>
                                        <p:cTn id="92" dur="500"/>
                                        <p:tgtEl>
                                          <p:spTgt spid="149"/>
                                        </p:tgtEl>
                                      </p:cBhvr>
                                    </p:animEffect>
                                  </p:childTnLst>
                                </p:cTn>
                              </p:par>
                            </p:childTnLst>
                          </p:cTn>
                        </p:par>
                        <p:par>
                          <p:cTn id="93" fill="hold">
                            <p:stCondLst>
                              <p:cond delay="3250"/>
                            </p:stCondLst>
                            <p:childTnLst>
                              <p:par>
                                <p:cTn id="94" presetID="22" presetClass="entr" presetSubtype="4" fill="hold" grpId="0" nodeType="afterEffect">
                                  <p:stCondLst>
                                    <p:cond delay="0"/>
                                  </p:stCondLst>
                                  <p:childTnLst>
                                    <p:set>
                                      <p:cBhvr>
                                        <p:cTn id="95" dur="1" fill="hold">
                                          <p:stCondLst>
                                            <p:cond delay="0"/>
                                          </p:stCondLst>
                                        </p:cTn>
                                        <p:tgtEl>
                                          <p:spTgt spid="114"/>
                                        </p:tgtEl>
                                        <p:attrNameLst>
                                          <p:attrName>style.visibility</p:attrName>
                                        </p:attrNameLst>
                                      </p:cBhvr>
                                      <p:to>
                                        <p:strVal val="visible"/>
                                      </p:to>
                                    </p:set>
                                    <p:animEffect transition="in" filter="wipe(down)">
                                      <p:cBhvr>
                                        <p:cTn id="96" dur="500"/>
                                        <p:tgtEl>
                                          <p:spTgt spid="114"/>
                                        </p:tgtEl>
                                      </p:cBhvr>
                                    </p:animEffect>
                                  </p:childTnLst>
                                </p:cTn>
                              </p:par>
                              <p:par>
                                <p:cTn id="97" presetID="22" presetClass="exit" presetSubtype="4" fill="hold" grpId="1" nodeType="withEffect">
                                  <p:stCondLst>
                                    <p:cond delay="500"/>
                                  </p:stCondLst>
                                  <p:childTnLst>
                                    <p:animEffect transition="out" filter="wipe(down)">
                                      <p:cBhvr>
                                        <p:cTn id="98" dur="500"/>
                                        <p:tgtEl>
                                          <p:spTgt spid="114"/>
                                        </p:tgtEl>
                                      </p:cBhvr>
                                    </p:animEffect>
                                    <p:set>
                                      <p:cBhvr>
                                        <p:cTn id="99" dur="1" fill="hold">
                                          <p:stCondLst>
                                            <p:cond delay="499"/>
                                          </p:stCondLst>
                                        </p:cTn>
                                        <p:tgtEl>
                                          <p:spTgt spid="114"/>
                                        </p:tgtEl>
                                        <p:attrNameLst>
                                          <p:attrName>style.visibility</p:attrName>
                                        </p:attrNameLst>
                                      </p:cBhvr>
                                      <p:to>
                                        <p:strVal val="hidden"/>
                                      </p:to>
                                    </p:set>
                                  </p:childTnLst>
                                </p:cTn>
                              </p:par>
                            </p:childTnLst>
                          </p:cTn>
                        </p:par>
                        <p:par>
                          <p:cTn id="100" fill="hold">
                            <p:stCondLst>
                              <p:cond delay="4250"/>
                            </p:stCondLst>
                            <p:childTnLst>
                              <p:par>
                                <p:cTn id="101" presetID="10" presetClass="entr" presetSubtype="0" fill="hold" nodeType="afterEffect">
                                  <p:stCondLst>
                                    <p:cond delay="0"/>
                                  </p:stCondLst>
                                  <p:childTnLst>
                                    <p:set>
                                      <p:cBhvr>
                                        <p:cTn id="102" dur="1" fill="hold">
                                          <p:stCondLst>
                                            <p:cond delay="0"/>
                                          </p:stCondLst>
                                        </p:cTn>
                                        <p:tgtEl>
                                          <p:spTgt spid="110"/>
                                        </p:tgtEl>
                                        <p:attrNameLst>
                                          <p:attrName>style.visibility</p:attrName>
                                        </p:attrNameLst>
                                      </p:cBhvr>
                                      <p:to>
                                        <p:strVal val="visible"/>
                                      </p:to>
                                    </p:set>
                                    <p:animEffect transition="in" filter="fade">
                                      <p:cBhvr>
                                        <p:cTn id="103" dur="500"/>
                                        <p:tgtEl>
                                          <p:spTgt spid="110"/>
                                        </p:tgtEl>
                                      </p:cBhvr>
                                    </p:animEffect>
                                  </p:childTnLst>
                                </p:cTn>
                              </p:par>
                            </p:childTnLst>
                          </p:cTn>
                        </p:par>
                        <p:par>
                          <p:cTn id="104" fill="hold">
                            <p:stCondLst>
                              <p:cond delay="4750"/>
                            </p:stCondLst>
                            <p:childTnLst>
                              <p:par>
                                <p:cTn id="105" presetID="22" presetClass="entr" presetSubtype="4" fill="hold" grpId="0" nodeType="afterEffect">
                                  <p:stCondLst>
                                    <p:cond delay="0"/>
                                  </p:stCondLst>
                                  <p:childTnLst>
                                    <p:set>
                                      <p:cBhvr>
                                        <p:cTn id="106" dur="1" fill="hold">
                                          <p:stCondLst>
                                            <p:cond delay="0"/>
                                          </p:stCondLst>
                                        </p:cTn>
                                        <p:tgtEl>
                                          <p:spTgt spid="147"/>
                                        </p:tgtEl>
                                        <p:attrNameLst>
                                          <p:attrName>style.visibility</p:attrName>
                                        </p:attrNameLst>
                                      </p:cBhvr>
                                      <p:to>
                                        <p:strVal val="visible"/>
                                      </p:to>
                                    </p:set>
                                    <p:animEffect transition="in" filter="wipe(down)">
                                      <p:cBhvr>
                                        <p:cTn id="107" dur="500"/>
                                        <p:tgtEl>
                                          <p:spTgt spid="147"/>
                                        </p:tgtEl>
                                      </p:cBhvr>
                                    </p:animEffect>
                                  </p:childTnLst>
                                </p:cTn>
                              </p:par>
                              <p:par>
                                <p:cTn id="108" presetID="22" presetClass="exit" presetSubtype="4" fill="hold" grpId="1" nodeType="withEffect">
                                  <p:stCondLst>
                                    <p:cond delay="500"/>
                                  </p:stCondLst>
                                  <p:childTnLst>
                                    <p:animEffect transition="out" filter="wipe(down)">
                                      <p:cBhvr>
                                        <p:cTn id="109" dur="500"/>
                                        <p:tgtEl>
                                          <p:spTgt spid="147"/>
                                        </p:tgtEl>
                                      </p:cBhvr>
                                    </p:animEffect>
                                    <p:set>
                                      <p:cBhvr>
                                        <p:cTn id="110" dur="1" fill="hold">
                                          <p:stCondLst>
                                            <p:cond delay="499"/>
                                          </p:stCondLst>
                                        </p:cTn>
                                        <p:tgtEl>
                                          <p:spTgt spid="147"/>
                                        </p:tgtEl>
                                        <p:attrNameLst>
                                          <p:attrName>style.visibility</p:attrName>
                                        </p:attrNameLst>
                                      </p:cBhvr>
                                      <p:to>
                                        <p:strVal val="hidden"/>
                                      </p:to>
                                    </p:set>
                                  </p:childTnLst>
                                </p:cTn>
                              </p:par>
                              <p:par>
                                <p:cTn id="111" presetID="10" presetClass="exit" presetSubtype="0" fill="hold" grpId="1" nodeType="withEffect">
                                  <p:stCondLst>
                                    <p:cond delay="0"/>
                                  </p:stCondLst>
                                  <p:childTnLst>
                                    <p:animEffect transition="out" filter="fade">
                                      <p:cBhvr>
                                        <p:cTn id="112" dur="500"/>
                                        <p:tgtEl>
                                          <p:spTgt spid="130"/>
                                        </p:tgtEl>
                                      </p:cBhvr>
                                    </p:animEffect>
                                    <p:set>
                                      <p:cBhvr>
                                        <p:cTn id="113" dur="1" fill="hold">
                                          <p:stCondLst>
                                            <p:cond delay="499"/>
                                          </p:stCondLst>
                                        </p:cTn>
                                        <p:tgtEl>
                                          <p:spTgt spid="130"/>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500"/>
                                        <p:tgtEl>
                                          <p:spTgt spid="165"/>
                                        </p:tgtEl>
                                      </p:cBhvr>
                                    </p:animEffect>
                                    <p:set>
                                      <p:cBhvr>
                                        <p:cTn id="116" dur="1" fill="hold">
                                          <p:stCondLst>
                                            <p:cond delay="499"/>
                                          </p:stCondLst>
                                        </p:cTn>
                                        <p:tgtEl>
                                          <p:spTgt spid="165"/>
                                        </p:tgtEl>
                                        <p:attrNameLst>
                                          <p:attrName>style.visibility</p:attrName>
                                        </p:attrNameLst>
                                      </p:cBhvr>
                                      <p:to>
                                        <p:strVal val="hidden"/>
                                      </p:to>
                                    </p:set>
                                  </p:childTnLst>
                                </p:cTn>
                              </p:par>
                              <p:par>
                                <p:cTn id="117" presetID="10" presetClass="exit" presetSubtype="0" fill="hold" nodeType="withEffect">
                                  <p:stCondLst>
                                    <p:cond delay="0"/>
                                  </p:stCondLst>
                                  <p:childTnLst>
                                    <p:animEffect transition="out" filter="fade">
                                      <p:cBhvr>
                                        <p:cTn id="118" dur="500"/>
                                        <p:tgtEl>
                                          <p:spTgt spid="110"/>
                                        </p:tgtEl>
                                      </p:cBhvr>
                                    </p:animEffect>
                                    <p:set>
                                      <p:cBhvr>
                                        <p:cTn id="119" dur="1" fill="hold">
                                          <p:stCondLst>
                                            <p:cond delay="499"/>
                                          </p:stCondLst>
                                        </p:cTn>
                                        <p:tgtEl>
                                          <p:spTgt spid="110"/>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36"/>
                                        </p:tgtEl>
                                      </p:cBhvr>
                                    </p:animEffect>
                                    <p:set>
                                      <p:cBhvr>
                                        <p:cTn id="122" dur="1" fill="hold">
                                          <p:stCondLst>
                                            <p:cond delay="499"/>
                                          </p:stCondLst>
                                        </p:cTn>
                                        <p:tgtEl>
                                          <p:spTgt spid="36"/>
                                        </p:tgtEl>
                                        <p:attrNameLst>
                                          <p:attrName>style.visibility</p:attrName>
                                        </p:attrNameLst>
                                      </p:cBhvr>
                                      <p:to>
                                        <p:strVal val="hidden"/>
                                      </p:to>
                                    </p:set>
                                  </p:childTnLst>
                                </p:cTn>
                              </p:par>
                            </p:childTnLst>
                          </p:cTn>
                        </p:par>
                        <p:par>
                          <p:cTn id="123" fill="hold">
                            <p:stCondLst>
                              <p:cond delay="5750"/>
                            </p:stCondLst>
                            <p:childTnLst>
                              <p:par>
                                <p:cTn id="124" presetID="10" presetClass="entr" presetSubtype="0" fill="hold" nodeType="afterEffect">
                                  <p:stCondLst>
                                    <p:cond delay="0"/>
                                  </p:stCondLst>
                                  <p:childTnLst>
                                    <p:set>
                                      <p:cBhvr>
                                        <p:cTn id="125" dur="1" fill="hold">
                                          <p:stCondLst>
                                            <p:cond delay="0"/>
                                          </p:stCondLst>
                                        </p:cTn>
                                        <p:tgtEl>
                                          <p:spTgt spid="47"/>
                                        </p:tgtEl>
                                        <p:attrNameLst>
                                          <p:attrName>style.visibility</p:attrName>
                                        </p:attrNameLst>
                                      </p:cBhvr>
                                      <p:to>
                                        <p:strVal val="visible"/>
                                      </p:to>
                                    </p:set>
                                    <p:animEffect transition="in" filter="fade">
                                      <p:cBhvr>
                                        <p:cTn id="126" dur="500"/>
                                        <p:tgtEl>
                                          <p:spTgt spid="47"/>
                                        </p:tgtEl>
                                      </p:cBhvr>
                                    </p:animEffect>
                                  </p:childTnLst>
                                </p:cTn>
                              </p:par>
                              <p:par>
                                <p:cTn id="127" presetID="10" presetClass="exit" presetSubtype="0" fill="hold" nodeType="withEffect">
                                  <p:stCondLst>
                                    <p:cond delay="0"/>
                                  </p:stCondLst>
                                  <p:childTnLst>
                                    <p:animEffect transition="out" filter="fade">
                                      <p:cBhvr>
                                        <p:cTn id="128" dur="500"/>
                                        <p:tgtEl>
                                          <p:spTgt spid="149"/>
                                        </p:tgtEl>
                                      </p:cBhvr>
                                    </p:animEffect>
                                    <p:set>
                                      <p:cBhvr>
                                        <p:cTn id="129" dur="1" fill="hold">
                                          <p:stCondLst>
                                            <p:cond delay="499"/>
                                          </p:stCondLst>
                                        </p:cTn>
                                        <p:tgtEl>
                                          <p:spTgt spid="149"/>
                                        </p:tgtEl>
                                        <p:attrNameLst>
                                          <p:attrName>style.visibility</p:attrName>
                                        </p:attrNameLst>
                                      </p:cBhvr>
                                      <p:to>
                                        <p:strVal val="hidden"/>
                                      </p:to>
                                    </p:set>
                                  </p:childTnLst>
                                </p:cTn>
                              </p:par>
                            </p:childTnLst>
                          </p:cTn>
                        </p:par>
                        <p:par>
                          <p:cTn id="130" fill="hold">
                            <p:stCondLst>
                              <p:cond delay="6250"/>
                            </p:stCondLst>
                            <p:childTnLst>
                              <p:par>
                                <p:cTn id="131" presetID="10" presetClass="exit" presetSubtype="0" fill="hold" nodeType="afterEffect">
                                  <p:stCondLst>
                                    <p:cond delay="0"/>
                                  </p:stCondLst>
                                  <p:childTnLst>
                                    <p:animEffect transition="out" filter="fade">
                                      <p:cBhvr>
                                        <p:cTn id="132" dur="500"/>
                                        <p:tgtEl>
                                          <p:spTgt spid="47"/>
                                        </p:tgtEl>
                                      </p:cBhvr>
                                    </p:animEffect>
                                    <p:set>
                                      <p:cBhvr>
                                        <p:cTn id="133" dur="1" fill="hold">
                                          <p:stCondLst>
                                            <p:cond delay="499"/>
                                          </p:stCondLst>
                                        </p:cTn>
                                        <p:tgtEl>
                                          <p:spTgt spid="47"/>
                                        </p:tgtEl>
                                        <p:attrNameLst>
                                          <p:attrName>style.visibility</p:attrName>
                                        </p:attrNameLst>
                                      </p:cBhvr>
                                      <p:to>
                                        <p:strVal val="hidden"/>
                                      </p:to>
                                    </p:set>
                                  </p:childTnLst>
                                </p:cTn>
                              </p:par>
                              <p:par>
                                <p:cTn id="134" presetID="10" presetClass="exit" presetSubtype="0" fill="hold" grpId="1" nodeType="withEffect">
                                  <p:stCondLst>
                                    <p:cond delay="0"/>
                                  </p:stCondLst>
                                  <p:childTnLst>
                                    <p:animEffect transition="out" filter="fade">
                                      <p:cBhvr>
                                        <p:cTn id="135" dur="500"/>
                                        <p:tgtEl>
                                          <p:spTgt spid="148"/>
                                        </p:tgtEl>
                                      </p:cBhvr>
                                    </p:animEffect>
                                    <p:set>
                                      <p:cBhvr>
                                        <p:cTn id="136" dur="1" fill="hold">
                                          <p:stCondLst>
                                            <p:cond delay="499"/>
                                          </p:stCondLst>
                                        </p:cTn>
                                        <p:tgtEl>
                                          <p:spTgt spid="148"/>
                                        </p:tgtEl>
                                        <p:attrNameLst>
                                          <p:attrName>style.visibility</p:attrName>
                                        </p:attrNameLst>
                                      </p:cBhvr>
                                      <p:to>
                                        <p:strVal val="hidden"/>
                                      </p:to>
                                    </p:set>
                                  </p:childTnLst>
                                </p:cTn>
                              </p:par>
                              <p:par>
                                <p:cTn id="137" presetID="10" presetClass="exit" presetSubtype="0" fill="hold" nodeType="withEffect">
                                  <p:stCondLst>
                                    <p:cond delay="0"/>
                                  </p:stCondLst>
                                  <p:childTnLst>
                                    <p:animEffect transition="out" filter="fade">
                                      <p:cBhvr>
                                        <p:cTn id="138" dur="500"/>
                                        <p:tgtEl>
                                          <p:spTgt spid="139"/>
                                        </p:tgtEl>
                                      </p:cBhvr>
                                    </p:animEffect>
                                    <p:set>
                                      <p:cBhvr>
                                        <p:cTn id="139" dur="1" fill="hold">
                                          <p:stCondLst>
                                            <p:cond delay="499"/>
                                          </p:stCondLst>
                                        </p:cTn>
                                        <p:tgtEl>
                                          <p:spTgt spid="139"/>
                                        </p:tgtEl>
                                        <p:attrNameLst>
                                          <p:attrName>style.visibility</p:attrName>
                                        </p:attrNameLst>
                                      </p:cBhvr>
                                      <p:to>
                                        <p:strVal val="hidden"/>
                                      </p:to>
                                    </p:set>
                                  </p:childTnLst>
                                </p:cTn>
                              </p:par>
                            </p:childTnLst>
                          </p:cTn>
                        </p:par>
                        <p:par>
                          <p:cTn id="140" fill="hold">
                            <p:stCondLst>
                              <p:cond delay="6750"/>
                            </p:stCondLst>
                            <p:childTnLst>
                              <p:par>
                                <p:cTn id="141" presetID="2" presetClass="entr" presetSubtype="4" decel="100000" fill="hold" grpId="0" nodeType="afterEffect">
                                  <p:stCondLst>
                                    <p:cond delay="0"/>
                                  </p:stCondLst>
                                  <p:childTnLst>
                                    <p:set>
                                      <p:cBhvr>
                                        <p:cTn id="142" dur="1" fill="hold">
                                          <p:stCondLst>
                                            <p:cond delay="0"/>
                                          </p:stCondLst>
                                        </p:cTn>
                                        <p:tgtEl>
                                          <p:spTgt spid="39"/>
                                        </p:tgtEl>
                                        <p:attrNameLst>
                                          <p:attrName>style.visibility</p:attrName>
                                        </p:attrNameLst>
                                      </p:cBhvr>
                                      <p:to>
                                        <p:strVal val="visible"/>
                                      </p:to>
                                    </p:set>
                                    <p:anim calcmode="lin" valueType="num">
                                      <p:cBhvr additive="base">
                                        <p:cTn id="143" dur="500" fill="hold"/>
                                        <p:tgtEl>
                                          <p:spTgt spid="39"/>
                                        </p:tgtEl>
                                        <p:attrNameLst>
                                          <p:attrName>ppt_x</p:attrName>
                                        </p:attrNameLst>
                                      </p:cBhvr>
                                      <p:tavLst>
                                        <p:tav tm="0">
                                          <p:val>
                                            <p:strVal val="#ppt_x"/>
                                          </p:val>
                                        </p:tav>
                                        <p:tav tm="100000">
                                          <p:val>
                                            <p:strVal val="#ppt_x"/>
                                          </p:val>
                                        </p:tav>
                                      </p:tavLst>
                                    </p:anim>
                                    <p:anim calcmode="lin" valueType="num">
                                      <p:cBhvr additive="base">
                                        <p:cTn id="144"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16" grpId="0"/>
      <p:bldP spid="31" grpId="0"/>
      <p:bldP spid="209" grpId="0"/>
      <p:bldP spid="210" grpId="0"/>
      <p:bldP spid="39" grpId="0" animBg="1"/>
      <p:bldP spid="25" grpId="0"/>
      <p:bldP spid="130" grpId="0" animBg="1"/>
      <p:bldP spid="130" grpId="1" animBg="1"/>
      <p:bldP spid="148" grpId="0" animBg="1"/>
      <p:bldP spid="148" grpId="1" animBg="1"/>
      <p:bldP spid="29" grpId="0" animBg="1"/>
      <p:bldP spid="29" grpId="1" animBg="1"/>
      <p:bldP spid="131" grpId="0" animBg="1"/>
      <p:bldP spid="131" grpId="1" animBg="1"/>
      <p:bldP spid="147" grpId="0" animBg="1"/>
      <p:bldP spid="147" grpId="1" animBg="1"/>
      <p:bldP spid="40" grpId="0" animBg="1"/>
      <p:bldP spid="114" grpId="0" animBg="1"/>
      <p:bldP spid="114" grpId="1" animBg="1"/>
      <p:bldP spid="3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Cloud Identity and Access Management: </a:t>
            </a:r>
            <a:br>
              <a:rPr lang="en-US" sz="3600" dirty="0" smtClean="0"/>
            </a:br>
            <a:r>
              <a:rPr lang="en-US" sz="3600" dirty="0" smtClean="0"/>
              <a:t>Azure Active Directory Premium</a:t>
            </a:r>
            <a:endParaRPr lang="en-US" sz="3600" dirty="0"/>
          </a:p>
        </p:txBody>
      </p:sp>
      <p:sp>
        <p:nvSpPr>
          <p:cNvPr id="3" name="Text Placeholder 2"/>
          <p:cNvSpPr>
            <a:spLocks noGrp="1"/>
          </p:cNvSpPr>
          <p:nvPr>
            <p:ph type="body" sz="quarter" idx="14"/>
          </p:nvPr>
        </p:nvSpPr>
        <p:spPr/>
        <p:txBody>
          <a:bodyPr/>
          <a:lstStyle/>
          <a:p>
            <a:endParaRPr lang="en-US" sz="2800" dirty="0" smtClean="0"/>
          </a:p>
          <a:p>
            <a:r>
              <a:rPr lang="en-US" sz="2800" dirty="0" smtClean="0"/>
              <a:t>Nasos Kladakis, </a:t>
            </a:r>
          </a:p>
          <a:p>
            <a:r>
              <a:rPr lang="en-US" sz="2800" dirty="0" smtClean="0"/>
              <a:t>Sr. Product Marketing Manager , Azure</a:t>
            </a:r>
            <a:endParaRPr lang="en-US" sz="2800" dirty="0"/>
          </a:p>
        </p:txBody>
      </p:sp>
      <p:sp>
        <p:nvSpPr>
          <p:cNvPr id="4" name="Text Placeholder 7"/>
          <p:cNvSpPr txBox="1">
            <a:spLocks/>
          </p:cNvSpPr>
          <p:nvPr/>
        </p:nvSpPr>
        <p:spPr>
          <a:xfrm>
            <a:off x="10333038" y="296863"/>
            <a:ext cx="1828800" cy="37856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1400" dirty="0" smtClean="0"/>
              <a:t>DCIM-B382</a:t>
            </a:r>
            <a:endParaRPr lang="en-US" sz="1400" dirty="0"/>
          </a:p>
        </p:txBody>
      </p:sp>
    </p:spTree>
    <p:extLst>
      <p:ext uri="{BB962C8B-B14F-4D97-AF65-F5344CB8AC3E}">
        <p14:creationId xmlns:p14="http://schemas.microsoft.com/office/powerpoint/2010/main" val="317459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1515" y="3123233"/>
            <a:ext cx="4011640" cy="1126462"/>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smtClean="0">
                <a:gradFill>
                  <a:gsLst>
                    <a:gs pos="3670">
                      <a:srgbClr val="505050"/>
                    </a:gs>
                    <a:gs pos="100000">
                      <a:srgbClr val="505050"/>
                    </a:gs>
                  </a:gsLst>
                  <a:lin ang="5400000" scaled="0"/>
                </a:gradFill>
              </a:rPr>
              <a:t>Security </a:t>
            </a:r>
            <a:r>
              <a:rPr lang="en-US" sz="2000" spc="-90" dirty="0">
                <a:gradFill>
                  <a:gsLst>
                    <a:gs pos="3670">
                      <a:srgbClr val="505050"/>
                    </a:gs>
                    <a:gs pos="100000">
                      <a:srgbClr val="505050"/>
                    </a:gs>
                  </a:gsLst>
                  <a:lin ang="5400000" scaled="0"/>
                </a:gradFill>
              </a:rPr>
              <a:t>reporting that tracks inconsistent access </a:t>
            </a:r>
            <a:r>
              <a:rPr lang="en-US" sz="2000" spc="-90" dirty="0" smtClean="0">
                <a:gradFill>
                  <a:gsLst>
                    <a:gs pos="3670">
                      <a:srgbClr val="505050"/>
                    </a:gs>
                    <a:gs pos="100000">
                      <a:srgbClr val="505050"/>
                    </a:gs>
                  </a:gsLst>
                  <a:lin ang="5400000" scaled="0"/>
                </a:gradFill>
              </a:rPr>
              <a:t>patterns, analytics and </a:t>
            </a:r>
            <a:r>
              <a:rPr lang="en-US" sz="2000" b="1" spc="-90" dirty="0" smtClean="0">
                <a:gradFill>
                  <a:gsLst>
                    <a:gs pos="3670">
                      <a:srgbClr val="008272"/>
                    </a:gs>
                    <a:gs pos="100000">
                      <a:srgbClr val="008272"/>
                    </a:gs>
                  </a:gsLst>
                  <a:lin ang="5400000" scaled="0"/>
                </a:gradFill>
              </a:rPr>
              <a:t>alerts</a:t>
            </a:r>
            <a:r>
              <a:rPr lang="en-US" sz="2000" spc="-90" dirty="0" smtClean="0">
                <a:gradFill>
                  <a:gsLst>
                    <a:gs pos="3670">
                      <a:srgbClr val="008272"/>
                    </a:gs>
                    <a:gs pos="100000">
                      <a:srgbClr val="008272"/>
                    </a:gs>
                  </a:gsLst>
                  <a:lin ang="5400000" scaled="0"/>
                </a:gradFill>
              </a:rPr>
              <a:t>.</a:t>
            </a:r>
            <a:endParaRPr lang="en-US" sz="2000" spc="-90" dirty="0">
              <a:gradFill>
                <a:gsLst>
                  <a:gs pos="3670">
                    <a:srgbClr val="008272"/>
                  </a:gs>
                  <a:gs pos="100000">
                    <a:srgbClr val="008272"/>
                  </a:gs>
                </a:gsLst>
                <a:lin ang="5400000" scaled="0"/>
              </a:gradFill>
            </a:endParaRPr>
          </a:p>
        </p:txBody>
      </p:sp>
      <p:sp>
        <p:nvSpPr>
          <p:cNvPr id="16" name="Rectangle 15"/>
          <p:cNvSpPr/>
          <p:nvPr/>
        </p:nvSpPr>
        <p:spPr>
          <a:xfrm>
            <a:off x="281515" y="2243547"/>
            <a:ext cx="4051829" cy="572464"/>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smtClean="0">
                <a:gradFill>
                  <a:gsLst>
                    <a:gs pos="3670">
                      <a:srgbClr val="505050"/>
                    </a:gs>
                    <a:gs pos="100000">
                      <a:srgbClr val="505050"/>
                    </a:gs>
                  </a:gsLst>
                  <a:lin ang="5400000" scaled="0"/>
                </a:gradFill>
              </a:rPr>
              <a:t>Built-in </a:t>
            </a:r>
            <a:r>
              <a:rPr lang="en-US" sz="2000" spc="-90" dirty="0">
                <a:gradFill>
                  <a:gsLst>
                    <a:gs pos="3670">
                      <a:srgbClr val="505050"/>
                    </a:gs>
                    <a:gs pos="100000">
                      <a:srgbClr val="505050"/>
                    </a:gs>
                  </a:gsLst>
                  <a:lin ang="5400000" scaled="0"/>
                </a:gradFill>
              </a:rPr>
              <a:t>s</a:t>
            </a:r>
            <a:r>
              <a:rPr lang="en-US" sz="2000" spc="-90" dirty="0" smtClean="0">
                <a:gradFill>
                  <a:gsLst>
                    <a:gs pos="3670">
                      <a:srgbClr val="505050"/>
                    </a:gs>
                    <a:gs pos="100000">
                      <a:srgbClr val="505050"/>
                    </a:gs>
                  </a:gsLst>
                  <a:lin ang="5400000" scaled="0"/>
                </a:gradFill>
              </a:rPr>
              <a:t>ecurity features.</a:t>
            </a:r>
            <a:endParaRPr lang="en-US" sz="2000" spc="-90" dirty="0">
              <a:gradFill>
                <a:gsLst>
                  <a:gs pos="3670">
                    <a:srgbClr val="505050"/>
                  </a:gs>
                  <a:gs pos="100000">
                    <a:srgbClr val="505050"/>
                  </a:gs>
                </a:gsLst>
                <a:lin ang="5400000" scaled="0"/>
              </a:gradFill>
            </a:endParaRPr>
          </a:p>
        </p:txBody>
      </p:sp>
      <p:sp>
        <p:nvSpPr>
          <p:cNvPr id="11" name="Rectangle 10"/>
          <p:cNvSpPr/>
          <p:nvPr/>
        </p:nvSpPr>
        <p:spPr bwMode="auto">
          <a:xfrm>
            <a:off x="-6447" y="9706"/>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solidFill>
            <a:srgbClr val="FFFFFF"/>
          </a:solidFill>
        </p:spPr>
        <p:txBody>
          <a:bodyPr lIns="1920240"/>
          <a:lstStyle/>
          <a:p>
            <a:pPr>
              <a:lnSpc>
                <a:spcPct val="80000"/>
              </a:lnSpc>
            </a:pPr>
            <a:r>
              <a:rPr lang="en-US" sz="4000" dirty="0">
                <a:gradFill>
                  <a:gsLst>
                    <a:gs pos="6195">
                      <a:schemeClr val="bg2"/>
                    </a:gs>
                    <a:gs pos="100000">
                      <a:schemeClr val="bg2"/>
                    </a:gs>
                  </a:gsLst>
                  <a:lin ang="5400000" scaled="0"/>
                </a:gradFill>
              </a:rPr>
              <a:t>Monitor and protect </a:t>
            </a:r>
            <a:r>
              <a:rPr lang="en-US" sz="4000" dirty="0" smtClean="0">
                <a:gradFill>
                  <a:gsLst>
                    <a:gs pos="6195">
                      <a:schemeClr val="bg2"/>
                    </a:gs>
                    <a:gs pos="100000">
                      <a:schemeClr val="bg2"/>
                    </a:gs>
                  </a:gsLst>
                  <a:lin ang="5400000" scaled="0"/>
                </a:gradFill>
              </a:rPr>
              <a:t>access to enterprise apps</a:t>
            </a:r>
            <a:endParaRPr lang="en-US" sz="4000" dirty="0">
              <a:gradFill>
                <a:gsLst>
                  <a:gs pos="6195">
                    <a:schemeClr val="bg2"/>
                  </a:gs>
                  <a:gs pos="100000">
                    <a:schemeClr val="bg2"/>
                  </a:gs>
                </a:gsLst>
                <a:lin ang="5400000" scaled="0"/>
              </a:gradFill>
            </a:endParaRPr>
          </a:p>
        </p:txBody>
      </p:sp>
      <p:grpSp>
        <p:nvGrpSpPr>
          <p:cNvPr id="40" name="Group 39"/>
          <p:cNvGrpSpPr/>
          <p:nvPr/>
        </p:nvGrpSpPr>
        <p:grpSpPr>
          <a:xfrm>
            <a:off x="215206" y="199824"/>
            <a:ext cx="1728216" cy="1728216"/>
            <a:chOff x="6287898" y="3296296"/>
            <a:chExt cx="2879702" cy="2879702"/>
          </a:xfrm>
        </p:grpSpPr>
        <p:sp>
          <p:nvSpPr>
            <p:cNvPr id="41" name="Oval 40"/>
            <p:cNvSpPr/>
            <p:nvPr/>
          </p:nvSpPr>
          <p:spPr bwMode="auto">
            <a:xfrm>
              <a:off x="6287898"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2" name="Group 41"/>
            <p:cNvGrpSpPr/>
            <p:nvPr/>
          </p:nvGrpSpPr>
          <p:grpSpPr>
            <a:xfrm>
              <a:off x="6915494" y="3662037"/>
              <a:ext cx="1624511" cy="2148219"/>
              <a:chOff x="6947075" y="4069887"/>
              <a:chExt cx="1628108" cy="2152976"/>
            </a:xfrm>
          </p:grpSpPr>
          <p:sp>
            <p:nvSpPr>
              <p:cNvPr id="43" name="Freeform 30"/>
              <p:cNvSpPr>
                <a:spLocks noEditPoints="1"/>
              </p:cNvSpPr>
              <p:nvPr/>
            </p:nvSpPr>
            <p:spPr bwMode="auto">
              <a:xfrm>
                <a:off x="7187502" y="4069887"/>
                <a:ext cx="1188925" cy="151280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44" name="Group 43"/>
              <p:cNvGrpSpPr/>
              <p:nvPr/>
            </p:nvGrpSpPr>
            <p:grpSpPr>
              <a:xfrm>
                <a:off x="6947075" y="4826289"/>
                <a:ext cx="1628108" cy="1396574"/>
                <a:chOff x="6947075" y="4910697"/>
                <a:chExt cx="1628108" cy="1396574"/>
              </a:xfrm>
            </p:grpSpPr>
            <p:grpSp>
              <p:nvGrpSpPr>
                <p:cNvPr id="45" name="Group 44"/>
                <p:cNvGrpSpPr/>
                <p:nvPr/>
              </p:nvGrpSpPr>
              <p:grpSpPr>
                <a:xfrm>
                  <a:off x="6947075" y="4910697"/>
                  <a:ext cx="1628108" cy="1396574"/>
                  <a:chOff x="3504022" y="1725284"/>
                  <a:chExt cx="1628108" cy="1396574"/>
                </a:xfrm>
                <a:solidFill>
                  <a:srgbClr val="969696"/>
                </a:solidFill>
              </p:grpSpPr>
              <p:sp>
                <p:nvSpPr>
                  <p:cNvPr id="47" name="Freeform 741"/>
                  <p:cNvSpPr>
                    <a:spLocks/>
                  </p:cNvSpPr>
                  <p:nvPr/>
                </p:nvSpPr>
                <p:spPr bwMode="auto">
                  <a:xfrm>
                    <a:off x="4055756" y="2070117"/>
                    <a:ext cx="524640" cy="105174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8" name="Oval 742"/>
                  <p:cNvSpPr>
                    <a:spLocks noChangeArrowheads="1"/>
                  </p:cNvSpPr>
                  <p:nvPr/>
                </p:nvSpPr>
                <p:spPr bwMode="auto">
                  <a:xfrm>
                    <a:off x="4161669" y="1725284"/>
                    <a:ext cx="312813" cy="315276"/>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9" name="Freeform 743"/>
                  <p:cNvSpPr>
                    <a:spLocks/>
                  </p:cNvSpPr>
                  <p:nvPr/>
                </p:nvSpPr>
                <p:spPr bwMode="auto">
                  <a:xfrm>
                    <a:off x="4691235"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0" name="Oval 744"/>
                  <p:cNvSpPr>
                    <a:spLocks noChangeArrowheads="1"/>
                  </p:cNvSpPr>
                  <p:nvPr/>
                </p:nvSpPr>
                <p:spPr bwMode="auto">
                  <a:xfrm>
                    <a:off x="4777444"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1" name="Freeform 745"/>
                  <p:cNvSpPr>
                    <a:spLocks/>
                  </p:cNvSpPr>
                  <p:nvPr/>
                </p:nvSpPr>
                <p:spPr bwMode="auto">
                  <a:xfrm>
                    <a:off x="3504022"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2" name="Oval 746"/>
                  <p:cNvSpPr>
                    <a:spLocks noChangeArrowheads="1"/>
                  </p:cNvSpPr>
                  <p:nvPr/>
                </p:nvSpPr>
                <p:spPr bwMode="auto">
                  <a:xfrm>
                    <a:off x="3590230"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p:nvSpPr>
                <p:cNvPr id="46" name="Freeform 6"/>
                <p:cNvSpPr>
                  <a:spLocks noEditPoints="1"/>
                </p:cNvSpPr>
                <p:nvPr/>
              </p:nvSpPr>
              <p:spPr bwMode="auto">
                <a:xfrm>
                  <a:off x="7606110" y="5335509"/>
                  <a:ext cx="310038" cy="377382"/>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grpSp>
      </p:gr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7" name="Picture 6"/>
          <p:cNvPicPr>
            <a:picLocks noChangeAspect="1"/>
          </p:cNvPicPr>
          <p:nvPr/>
        </p:nvPicPr>
        <p:blipFill>
          <a:blip r:embed="rId3"/>
          <a:stretch>
            <a:fillRect/>
          </a:stretch>
        </p:blipFill>
        <p:spPr>
          <a:xfrm>
            <a:off x="4149559" y="2437808"/>
            <a:ext cx="5501269" cy="3000692"/>
          </a:xfrm>
          <a:prstGeom prst="rect">
            <a:avLst/>
          </a:prstGeom>
        </p:spPr>
      </p:pic>
      <p:sp>
        <p:nvSpPr>
          <p:cNvPr id="27" name="Oval 26"/>
          <p:cNvSpPr/>
          <p:nvPr/>
        </p:nvSpPr>
        <p:spPr bwMode="auto">
          <a:xfrm>
            <a:off x="5262910" y="3530620"/>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5" name="Oval 54"/>
          <p:cNvSpPr/>
          <p:nvPr/>
        </p:nvSpPr>
        <p:spPr bwMode="auto">
          <a:xfrm>
            <a:off x="7516823" y="3457605"/>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6" name="Oval 55"/>
          <p:cNvSpPr/>
          <p:nvPr/>
        </p:nvSpPr>
        <p:spPr bwMode="auto">
          <a:xfrm>
            <a:off x="8504238" y="4106856"/>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7" name="Oval 56"/>
          <p:cNvSpPr/>
          <p:nvPr/>
        </p:nvSpPr>
        <p:spPr bwMode="auto">
          <a:xfrm>
            <a:off x="7154873" y="4575474"/>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8" name="Oval 57"/>
          <p:cNvSpPr/>
          <p:nvPr/>
        </p:nvSpPr>
        <p:spPr bwMode="auto">
          <a:xfrm>
            <a:off x="8797935" y="3326205"/>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0" name="Oval 59"/>
          <p:cNvSpPr/>
          <p:nvPr/>
        </p:nvSpPr>
        <p:spPr bwMode="auto">
          <a:xfrm>
            <a:off x="9059873" y="4939729"/>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1" name="Oval 60"/>
          <p:cNvSpPr/>
          <p:nvPr/>
        </p:nvSpPr>
        <p:spPr bwMode="auto">
          <a:xfrm>
            <a:off x="5849948" y="4164668"/>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53" name="Picture 5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07672" y="4600536"/>
            <a:ext cx="575458" cy="476070"/>
          </a:xfrm>
          <a:prstGeom prst="rect">
            <a:avLst/>
          </a:prstGeom>
          <a:ln>
            <a:solidFill>
              <a:schemeClr val="bg1">
                <a:lumMod val="90000"/>
              </a:schemeClr>
            </a:solidFill>
          </a:ln>
          <a:effectLst>
            <a:outerShdw blurRad="50800" dist="38100" dir="2700000" algn="tl" rotWithShape="0">
              <a:prstClr val="black">
                <a:alpha val="40000"/>
              </a:prstClr>
            </a:outerShdw>
          </a:effectLst>
        </p:spPr>
      </p:pic>
      <p:sp>
        <p:nvSpPr>
          <p:cNvPr id="59" name="Oval 58"/>
          <p:cNvSpPr/>
          <p:nvPr/>
        </p:nvSpPr>
        <p:spPr bwMode="auto">
          <a:xfrm>
            <a:off x="6045211" y="4838571"/>
            <a:ext cx="73015" cy="7301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67" name="Group 4"/>
          <p:cNvGrpSpPr>
            <a:grpSpLocks noChangeAspect="1"/>
          </p:cNvGrpSpPr>
          <p:nvPr/>
        </p:nvGrpSpPr>
        <p:grpSpPr bwMode="auto">
          <a:xfrm>
            <a:off x="6517916" y="1896773"/>
            <a:ext cx="3550202" cy="3527817"/>
            <a:chOff x="3125" y="1415"/>
            <a:chExt cx="1586" cy="1576"/>
          </a:xfrm>
          <a:solidFill>
            <a:schemeClr val="accent1"/>
          </a:solidFill>
        </p:grpSpPr>
        <p:sp>
          <p:nvSpPr>
            <p:cNvPr id="68"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70"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77"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useBgFill="1">
        <p:nvSpPr>
          <p:cNvPr id="62" name="Rectangle 61"/>
          <p:cNvSpPr/>
          <p:nvPr/>
        </p:nvSpPr>
        <p:spPr bwMode="auto">
          <a:xfrm>
            <a:off x="12161838" y="1504950"/>
            <a:ext cx="268190" cy="54006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9" name="Picture 8"/>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704555" y="3788951"/>
            <a:ext cx="871730" cy="1719075"/>
          </a:xfrm>
          <a:prstGeom prst="rect">
            <a:avLst/>
          </a:prstGeom>
        </p:spPr>
      </p:pic>
      <p:pic>
        <p:nvPicPr>
          <p:cNvPr id="69" name="Picture 68"/>
          <p:cNvPicPr>
            <a:picLocks noChangeAspect="1"/>
          </p:cNvPicPr>
          <p:nvPr/>
        </p:nvPicPr>
        <p:blipFill>
          <a:blip r:embed="rId6"/>
          <a:stretch>
            <a:fillRect/>
          </a:stretch>
        </p:blipFill>
        <p:spPr>
          <a:xfrm>
            <a:off x="5532896" y="4600536"/>
            <a:ext cx="541424" cy="476070"/>
          </a:xfrm>
          <a:prstGeom prst="rect">
            <a:avLst/>
          </a:prstGeom>
          <a:ln>
            <a:solidFill>
              <a:schemeClr val="bg1">
                <a:lumMod val="90000"/>
              </a:schemeClr>
            </a:solidFill>
          </a:ln>
          <a:effectLst>
            <a:outerShdw blurRad="50800" dist="38100" dir="2700000" algn="tl" rotWithShape="0">
              <a:prstClr val="black">
                <a:alpha val="40000"/>
              </a:prstClr>
            </a:outerShdw>
          </a:effectLst>
        </p:spPr>
      </p:pic>
      <p:sp>
        <p:nvSpPr>
          <p:cNvPr id="8" name="Oval 7"/>
          <p:cNvSpPr/>
          <p:nvPr/>
        </p:nvSpPr>
        <p:spPr bwMode="auto">
          <a:xfrm>
            <a:off x="6011857" y="4807133"/>
            <a:ext cx="139722" cy="13972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8" name="Rectangle 17"/>
          <p:cNvSpPr/>
          <p:nvPr/>
        </p:nvSpPr>
        <p:spPr bwMode="auto">
          <a:xfrm>
            <a:off x="0" y="5887453"/>
            <a:ext cx="12436475" cy="11070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4" name="Picture 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53766" y="2002777"/>
            <a:ext cx="4364828" cy="3610972"/>
          </a:xfrm>
          <a:prstGeom prst="rect">
            <a:avLst/>
          </a:prstGeom>
          <a:ln>
            <a:solidFill>
              <a:schemeClr val="bg1">
                <a:lumMod val="90000"/>
              </a:schemeClr>
            </a:solidFill>
          </a:ln>
          <a:effectLst>
            <a:outerShdw blurRad="50800" dist="38100" dir="2700000" algn="tl" rotWithShape="0">
              <a:prstClr val="black">
                <a:alpha val="40000"/>
              </a:prstClr>
            </a:outerShdw>
          </a:effectLst>
        </p:spPr>
      </p:pic>
      <p:grpSp>
        <p:nvGrpSpPr>
          <p:cNvPr id="24" name="Group 23"/>
          <p:cNvGrpSpPr/>
          <p:nvPr/>
        </p:nvGrpSpPr>
        <p:grpSpPr>
          <a:xfrm>
            <a:off x="5986655" y="4775885"/>
            <a:ext cx="190125" cy="186723"/>
            <a:chOff x="5400383" y="4688355"/>
            <a:chExt cx="190125" cy="186723"/>
          </a:xfrm>
        </p:grpSpPr>
        <p:sp>
          <p:nvSpPr>
            <p:cNvPr id="23" name="Oval 22"/>
            <p:cNvSpPr/>
            <p:nvPr/>
          </p:nvSpPr>
          <p:spPr bwMode="auto">
            <a:xfrm>
              <a:off x="5410200" y="4826666"/>
              <a:ext cx="171289" cy="45719"/>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grpSp>
          <p:nvGrpSpPr>
            <p:cNvPr id="19" name="Group 18"/>
            <p:cNvGrpSpPr/>
            <p:nvPr/>
          </p:nvGrpSpPr>
          <p:grpSpPr>
            <a:xfrm>
              <a:off x="5400383" y="4688355"/>
              <a:ext cx="190125" cy="186723"/>
              <a:chOff x="2832100" y="-1016000"/>
              <a:chExt cx="798513" cy="784225"/>
            </a:xfrm>
            <a:solidFill>
              <a:schemeClr val="accent3"/>
            </a:solidFill>
          </p:grpSpPr>
          <p:sp>
            <p:nvSpPr>
              <p:cNvPr id="14" name="Freeform 5"/>
              <p:cNvSpPr>
                <a:spLocks/>
              </p:cNvSpPr>
              <p:nvPr/>
            </p:nvSpPr>
            <p:spPr bwMode="auto">
              <a:xfrm>
                <a:off x="3162300" y="-369888"/>
                <a:ext cx="141288" cy="77788"/>
              </a:xfrm>
              <a:custGeom>
                <a:avLst/>
                <a:gdLst>
                  <a:gd name="T0" fmla="*/ 158 w 315"/>
                  <a:gd name="T1" fmla="*/ 171 h 171"/>
                  <a:gd name="T2" fmla="*/ 315 w 315"/>
                  <a:gd name="T3" fmla="*/ 6 h 171"/>
                  <a:gd name="T4" fmla="*/ 309 w 315"/>
                  <a:gd name="T5" fmla="*/ 0 h 171"/>
                  <a:gd name="T6" fmla="*/ 158 w 315"/>
                  <a:gd name="T7" fmla="*/ 0 h 171"/>
                  <a:gd name="T8" fmla="*/ 7 w 315"/>
                  <a:gd name="T9" fmla="*/ 0 h 171"/>
                  <a:gd name="T10" fmla="*/ 0 w 315"/>
                  <a:gd name="T11" fmla="*/ 6 h 171"/>
                  <a:gd name="T12" fmla="*/ 158 w 315"/>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315" h="171">
                    <a:moveTo>
                      <a:pt x="158" y="171"/>
                    </a:moveTo>
                    <a:cubicBezTo>
                      <a:pt x="246" y="171"/>
                      <a:pt x="315" y="98"/>
                      <a:pt x="315" y="6"/>
                    </a:cubicBezTo>
                    <a:cubicBezTo>
                      <a:pt x="315" y="6"/>
                      <a:pt x="315" y="6"/>
                      <a:pt x="309" y="0"/>
                    </a:cubicBezTo>
                    <a:cubicBezTo>
                      <a:pt x="258" y="0"/>
                      <a:pt x="208" y="0"/>
                      <a:pt x="158" y="0"/>
                    </a:cubicBezTo>
                    <a:cubicBezTo>
                      <a:pt x="107" y="0"/>
                      <a:pt x="57" y="0"/>
                      <a:pt x="7" y="0"/>
                    </a:cubicBezTo>
                    <a:cubicBezTo>
                      <a:pt x="7" y="6"/>
                      <a:pt x="0" y="6"/>
                      <a:pt x="0" y="6"/>
                    </a:cubicBezTo>
                    <a:cubicBezTo>
                      <a:pt x="0" y="98"/>
                      <a:pt x="70" y="171"/>
                      <a:pt x="158" y="1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6"/>
              <p:cNvSpPr>
                <a:spLocks noEditPoints="1"/>
              </p:cNvSpPr>
              <p:nvPr/>
            </p:nvSpPr>
            <p:spPr bwMode="auto">
              <a:xfrm>
                <a:off x="2832100" y="-1016000"/>
                <a:ext cx="798513" cy="784225"/>
              </a:xfrm>
              <a:custGeom>
                <a:avLst/>
                <a:gdLst>
                  <a:gd name="T0" fmla="*/ 1748 w 1786"/>
                  <a:gd name="T1" fmla="*/ 1472 h 1758"/>
                  <a:gd name="T2" fmla="*/ 1397 w 1786"/>
                  <a:gd name="T3" fmla="*/ 363 h 1758"/>
                  <a:gd name="T4" fmla="*/ 1046 w 1786"/>
                  <a:gd name="T5" fmla="*/ 140 h 1758"/>
                  <a:gd name="T6" fmla="*/ 893 w 1786"/>
                  <a:gd name="T7" fmla="*/ 0 h 1758"/>
                  <a:gd name="T8" fmla="*/ 740 w 1786"/>
                  <a:gd name="T9" fmla="*/ 140 h 1758"/>
                  <a:gd name="T10" fmla="*/ 389 w 1786"/>
                  <a:gd name="T11" fmla="*/ 363 h 1758"/>
                  <a:gd name="T12" fmla="*/ 39 w 1786"/>
                  <a:gd name="T13" fmla="*/ 1472 h 1758"/>
                  <a:gd name="T14" fmla="*/ 0 w 1786"/>
                  <a:gd name="T15" fmla="*/ 1542 h 1758"/>
                  <a:gd name="T16" fmla="*/ 893 w 1786"/>
                  <a:gd name="T17" fmla="*/ 1758 h 1758"/>
                  <a:gd name="T18" fmla="*/ 1786 w 1786"/>
                  <a:gd name="T19" fmla="*/ 1542 h 1758"/>
                  <a:gd name="T20" fmla="*/ 1748 w 1786"/>
                  <a:gd name="T21" fmla="*/ 1472 h 1758"/>
                  <a:gd name="T22" fmla="*/ 893 w 1786"/>
                  <a:gd name="T23" fmla="*/ 64 h 1758"/>
                  <a:gd name="T24" fmla="*/ 983 w 1786"/>
                  <a:gd name="T25" fmla="*/ 128 h 1758"/>
                  <a:gd name="T26" fmla="*/ 804 w 1786"/>
                  <a:gd name="T27" fmla="*/ 128 h 1758"/>
                  <a:gd name="T28" fmla="*/ 893 w 1786"/>
                  <a:gd name="T29" fmla="*/ 64 h 1758"/>
                  <a:gd name="T30" fmla="*/ 1467 w 1786"/>
                  <a:gd name="T31" fmla="*/ 1631 h 1758"/>
                  <a:gd name="T32" fmla="*/ 893 w 1786"/>
                  <a:gd name="T33" fmla="*/ 1676 h 1758"/>
                  <a:gd name="T34" fmla="*/ 319 w 1786"/>
                  <a:gd name="T35" fmla="*/ 1631 h 1758"/>
                  <a:gd name="T36" fmla="*/ 83 w 1786"/>
                  <a:gd name="T37" fmla="*/ 1542 h 1758"/>
                  <a:gd name="T38" fmla="*/ 319 w 1786"/>
                  <a:gd name="T39" fmla="*/ 1453 h 1758"/>
                  <a:gd name="T40" fmla="*/ 893 w 1786"/>
                  <a:gd name="T41" fmla="*/ 1408 h 1758"/>
                  <a:gd name="T42" fmla="*/ 1467 w 1786"/>
                  <a:gd name="T43" fmla="*/ 1453 h 1758"/>
                  <a:gd name="T44" fmla="*/ 1703 w 1786"/>
                  <a:gd name="T45" fmla="*/ 1542 h 1758"/>
                  <a:gd name="T46" fmla="*/ 1467 w 1786"/>
                  <a:gd name="T47" fmla="*/ 1631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6" h="1758">
                    <a:moveTo>
                      <a:pt x="1748" y="1472"/>
                    </a:moveTo>
                    <a:cubicBezTo>
                      <a:pt x="1442" y="981"/>
                      <a:pt x="1576" y="612"/>
                      <a:pt x="1397" y="363"/>
                    </a:cubicBezTo>
                    <a:cubicBezTo>
                      <a:pt x="1314" y="242"/>
                      <a:pt x="1187" y="172"/>
                      <a:pt x="1046" y="140"/>
                    </a:cubicBezTo>
                    <a:cubicBezTo>
                      <a:pt x="1040" y="64"/>
                      <a:pt x="976" y="0"/>
                      <a:pt x="893" y="0"/>
                    </a:cubicBezTo>
                    <a:cubicBezTo>
                      <a:pt x="810" y="0"/>
                      <a:pt x="747" y="64"/>
                      <a:pt x="740" y="140"/>
                    </a:cubicBezTo>
                    <a:cubicBezTo>
                      <a:pt x="600" y="172"/>
                      <a:pt x="472" y="242"/>
                      <a:pt x="389" y="363"/>
                    </a:cubicBezTo>
                    <a:cubicBezTo>
                      <a:pt x="217" y="612"/>
                      <a:pt x="345" y="981"/>
                      <a:pt x="39" y="1472"/>
                    </a:cubicBezTo>
                    <a:cubicBezTo>
                      <a:pt x="13" y="1491"/>
                      <a:pt x="0" y="1516"/>
                      <a:pt x="0" y="1542"/>
                    </a:cubicBezTo>
                    <a:cubicBezTo>
                      <a:pt x="0" y="1714"/>
                      <a:pt x="562" y="1758"/>
                      <a:pt x="893" y="1758"/>
                    </a:cubicBezTo>
                    <a:cubicBezTo>
                      <a:pt x="1225" y="1758"/>
                      <a:pt x="1786" y="1714"/>
                      <a:pt x="1786" y="1542"/>
                    </a:cubicBezTo>
                    <a:cubicBezTo>
                      <a:pt x="1786" y="1516"/>
                      <a:pt x="1773" y="1491"/>
                      <a:pt x="1748" y="1472"/>
                    </a:cubicBezTo>
                    <a:close/>
                    <a:moveTo>
                      <a:pt x="893" y="64"/>
                    </a:moveTo>
                    <a:cubicBezTo>
                      <a:pt x="938" y="64"/>
                      <a:pt x="970" y="89"/>
                      <a:pt x="983" y="128"/>
                    </a:cubicBezTo>
                    <a:cubicBezTo>
                      <a:pt x="925" y="121"/>
                      <a:pt x="861" y="121"/>
                      <a:pt x="804" y="128"/>
                    </a:cubicBezTo>
                    <a:cubicBezTo>
                      <a:pt x="817" y="89"/>
                      <a:pt x="849" y="64"/>
                      <a:pt x="893" y="64"/>
                    </a:cubicBezTo>
                    <a:close/>
                    <a:moveTo>
                      <a:pt x="1467" y="1631"/>
                    </a:moveTo>
                    <a:cubicBezTo>
                      <a:pt x="1314" y="1663"/>
                      <a:pt x="1110" y="1676"/>
                      <a:pt x="893" y="1676"/>
                    </a:cubicBezTo>
                    <a:cubicBezTo>
                      <a:pt x="676" y="1676"/>
                      <a:pt x="472" y="1663"/>
                      <a:pt x="319" y="1631"/>
                    </a:cubicBezTo>
                    <a:cubicBezTo>
                      <a:pt x="141" y="1593"/>
                      <a:pt x="90" y="1555"/>
                      <a:pt x="83" y="1542"/>
                    </a:cubicBezTo>
                    <a:cubicBezTo>
                      <a:pt x="90" y="1529"/>
                      <a:pt x="141" y="1491"/>
                      <a:pt x="319" y="1453"/>
                    </a:cubicBezTo>
                    <a:cubicBezTo>
                      <a:pt x="472" y="1427"/>
                      <a:pt x="676" y="1408"/>
                      <a:pt x="893" y="1408"/>
                    </a:cubicBezTo>
                    <a:cubicBezTo>
                      <a:pt x="1110" y="1408"/>
                      <a:pt x="1314" y="1427"/>
                      <a:pt x="1467" y="1453"/>
                    </a:cubicBezTo>
                    <a:cubicBezTo>
                      <a:pt x="1646" y="1491"/>
                      <a:pt x="1697" y="1529"/>
                      <a:pt x="1703" y="1542"/>
                    </a:cubicBezTo>
                    <a:cubicBezTo>
                      <a:pt x="1697" y="1555"/>
                      <a:pt x="1646" y="1593"/>
                      <a:pt x="1467" y="163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pic>
        <p:nvPicPr>
          <p:cNvPr id="10" name="Picture 9"/>
          <p:cNvPicPr>
            <a:picLocks noChangeAspect="1"/>
          </p:cNvPicPr>
          <p:nvPr/>
        </p:nvPicPr>
        <p:blipFill>
          <a:blip r:embed="rId6"/>
          <a:stretch>
            <a:fillRect/>
          </a:stretch>
        </p:blipFill>
        <p:spPr>
          <a:xfrm>
            <a:off x="3564744" y="2002777"/>
            <a:ext cx="4106678" cy="3610971"/>
          </a:xfrm>
          <a:prstGeom prst="rect">
            <a:avLst/>
          </a:prstGeom>
          <a:ln>
            <a:solidFill>
              <a:schemeClr val="bg1">
                <a:lumMod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1195751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2" presetClass="entr" presetSubtype="2" decel="100000" fill="hold" nodeType="afterEffect">
                                  <p:stCondLst>
                                    <p:cond delay="0"/>
                                  </p:stCondLst>
                                  <p:childTnLst>
                                    <p:set>
                                      <p:cBhvr>
                                        <p:cTn id="11" dur="1" fill="hold">
                                          <p:stCondLst>
                                            <p:cond delay="0"/>
                                          </p:stCondLst>
                                        </p:cTn>
                                        <p:tgtEl>
                                          <p:spTgt spid="67"/>
                                        </p:tgtEl>
                                        <p:attrNameLst>
                                          <p:attrName>style.visibility</p:attrName>
                                        </p:attrNameLst>
                                      </p:cBhvr>
                                      <p:to>
                                        <p:strVal val="visible"/>
                                      </p:to>
                                    </p:set>
                                    <p:anim calcmode="lin" valueType="num">
                                      <p:cBhvr additive="base">
                                        <p:cTn id="12" dur="750" fill="hold"/>
                                        <p:tgtEl>
                                          <p:spTgt spid="67"/>
                                        </p:tgtEl>
                                        <p:attrNameLst>
                                          <p:attrName>ppt_x</p:attrName>
                                        </p:attrNameLst>
                                      </p:cBhvr>
                                      <p:tavLst>
                                        <p:tav tm="0">
                                          <p:val>
                                            <p:strVal val="1+#ppt_w/2"/>
                                          </p:val>
                                        </p:tav>
                                        <p:tav tm="100000">
                                          <p:val>
                                            <p:strVal val="#ppt_x"/>
                                          </p:val>
                                        </p:tav>
                                      </p:tavLst>
                                    </p:anim>
                                    <p:anim calcmode="lin" valueType="num">
                                      <p:cBhvr additive="base">
                                        <p:cTn id="13" dur="750" fill="hold"/>
                                        <p:tgtEl>
                                          <p:spTgt spid="67"/>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53" presetClass="entr" presetSubtype="16"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250" fill="hold"/>
                                        <p:tgtEl>
                                          <p:spTgt spid="9"/>
                                        </p:tgtEl>
                                        <p:attrNameLst>
                                          <p:attrName>ppt_w</p:attrName>
                                        </p:attrNameLst>
                                      </p:cBhvr>
                                      <p:tavLst>
                                        <p:tav tm="0">
                                          <p:val>
                                            <p:fltVal val="0"/>
                                          </p:val>
                                        </p:tav>
                                        <p:tav tm="100000">
                                          <p:val>
                                            <p:strVal val="#ppt_w"/>
                                          </p:val>
                                        </p:tav>
                                      </p:tavLst>
                                    </p:anim>
                                    <p:anim calcmode="lin" valueType="num">
                                      <p:cBhvr>
                                        <p:cTn id="18" dur="250" fill="hold"/>
                                        <p:tgtEl>
                                          <p:spTgt spid="9"/>
                                        </p:tgtEl>
                                        <p:attrNameLst>
                                          <p:attrName>ppt_h</p:attrName>
                                        </p:attrNameLst>
                                      </p:cBhvr>
                                      <p:tavLst>
                                        <p:tav tm="0">
                                          <p:val>
                                            <p:fltVal val="0"/>
                                          </p:val>
                                        </p:tav>
                                        <p:tav tm="100000">
                                          <p:val>
                                            <p:strVal val="#ppt_h"/>
                                          </p:val>
                                        </p:tav>
                                      </p:tavLst>
                                    </p:anim>
                                    <p:animEffect transition="in" filter="fade">
                                      <p:cBhvr>
                                        <p:cTn id="19" dur="250"/>
                                        <p:tgtEl>
                                          <p:spTgt spid="9"/>
                                        </p:tgtEl>
                                      </p:cBhvr>
                                    </p:animEffect>
                                  </p:childTnLst>
                                </p:cTn>
                              </p:par>
                              <p:par>
                                <p:cTn id="20" presetID="6" presetClass="emph" presetSubtype="0" decel="100000" fill="hold" nodeType="withEffect">
                                  <p:stCondLst>
                                    <p:cond delay="200"/>
                                  </p:stCondLst>
                                  <p:childTnLst>
                                    <p:animScale>
                                      <p:cBhvr>
                                        <p:cTn id="21" dur="250" fill="hold"/>
                                        <p:tgtEl>
                                          <p:spTgt spid="9"/>
                                        </p:tgtEl>
                                      </p:cBhvr>
                                      <p:by x="110000" y="110000"/>
                                    </p:animScale>
                                  </p:childTnLst>
                                </p:cTn>
                              </p:par>
                              <p:par>
                                <p:cTn id="22" presetID="6" presetClass="emph" presetSubtype="0" decel="100000" fill="hold" nodeType="withEffect">
                                  <p:stCondLst>
                                    <p:cond delay="300"/>
                                  </p:stCondLst>
                                  <p:childTnLst>
                                    <p:animScale>
                                      <p:cBhvr>
                                        <p:cTn id="23" dur="250" fill="hold"/>
                                        <p:tgtEl>
                                          <p:spTgt spid="9"/>
                                        </p:tgtEl>
                                      </p:cBhvr>
                                      <p:by x="91000" y="91000"/>
                                    </p:animScale>
                                  </p:childTnLst>
                                </p:cTn>
                              </p:par>
                            </p:childTnLst>
                          </p:cTn>
                        </p:par>
                      </p:childTnLst>
                    </p:cTn>
                  </p:par>
                  <p:par>
                    <p:cTn id="24" fill="hold">
                      <p:stCondLst>
                        <p:cond delay="indefinite"/>
                      </p:stCondLst>
                      <p:childTnLst>
                        <p:par>
                          <p:cTn id="25" fill="hold">
                            <p:stCondLst>
                              <p:cond delay="0"/>
                            </p:stCondLst>
                            <p:childTnLst>
                              <p:par>
                                <p:cTn id="26" presetID="2" presetClass="entr" presetSubtype="4" decel="100000" fill="hold" grpId="0" nodeType="clickEffect">
                                  <p:stCondLst>
                                    <p:cond delay="25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750" fill="hold"/>
                                        <p:tgtEl>
                                          <p:spTgt spid="3"/>
                                        </p:tgtEl>
                                        <p:attrNameLst>
                                          <p:attrName>ppt_x</p:attrName>
                                        </p:attrNameLst>
                                      </p:cBhvr>
                                      <p:tavLst>
                                        <p:tav tm="0">
                                          <p:val>
                                            <p:strVal val="#ppt_x"/>
                                          </p:val>
                                        </p:tav>
                                        <p:tav tm="100000">
                                          <p:val>
                                            <p:strVal val="#ppt_x"/>
                                          </p:val>
                                        </p:tav>
                                      </p:tavLst>
                                    </p:anim>
                                    <p:anim calcmode="lin" valueType="num">
                                      <p:cBhvr additive="base">
                                        <p:cTn id="29" dur="750" fill="hold"/>
                                        <p:tgtEl>
                                          <p:spTgt spid="3"/>
                                        </p:tgtEl>
                                        <p:attrNameLst>
                                          <p:attrName>ppt_y</p:attrName>
                                        </p:attrNameLst>
                                      </p:cBhvr>
                                      <p:tavLst>
                                        <p:tav tm="0">
                                          <p:val>
                                            <p:strVal val="1+#ppt_h/2"/>
                                          </p:val>
                                        </p:tav>
                                        <p:tav tm="100000">
                                          <p:val>
                                            <p:strVal val="#ppt_y"/>
                                          </p:val>
                                        </p:tav>
                                      </p:tavLst>
                                    </p:anim>
                                  </p:childTnLst>
                                </p:cTn>
                              </p:par>
                              <p:par>
                                <p:cTn id="30" presetID="10" presetClass="exit" presetSubtype="0" fill="hold" nodeType="withEffect">
                                  <p:stCondLst>
                                    <p:cond delay="300"/>
                                  </p:stCondLst>
                                  <p:childTnLst>
                                    <p:animEffect transition="out" filter="fade">
                                      <p:cBhvr>
                                        <p:cTn id="31" dur="500"/>
                                        <p:tgtEl>
                                          <p:spTgt spid="67"/>
                                        </p:tgtEl>
                                      </p:cBhvr>
                                    </p:animEffect>
                                    <p:set>
                                      <p:cBhvr>
                                        <p:cTn id="32" dur="1" fill="hold">
                                          <p:stCondLst>
                                            <p:cond delay="499"/>
                                          </p:stCondLst>
                                        </p:cTn>
                                        <p:tgtEl>
                                          <p:spTgt spid="67"/>
                                        </p:tgtEl>
                                        <p:attrNameLst>
                                          <p:attrName>style.visibility</p:attrName>
                                        </p:attrNameLst>
                                      </p:cBhvr>
                                      <p:to>
                                        <p:strVal val="hidden"/>
                                      </p:to>
                                    </p:set>
                                  </p:childTnLst>
                                </p:cTn>
                              </p:par>
                              <p:par>
                                <p:cTn id="33" presetID="10" presetClass="exit" presetSubtype="0" fill="hold" nodeType="withEffect">
                                  <p:stCondLst>
                                    <p:cond delay="300"/>
                                  </p:stCondLst>
                                  <p:childTnLst>
                                    <p:animEffect transition="out" filter="fade">
                                      <p:cBhvr>
                                        <p:cTn id="34" dur="500"/>
                                        <p:tgtEl>
                                          <p:spTgt spid="9"/>
                                        </p:tgtEl>
                                      </p:cBhvr>
                                    </p:animEffect>
                                    <p:set>
                                      <p:cBhvr>
                                        <p:cTn id="35" dur="1" fill="hold">
                                          <p:stCondLst>
                                            <p:cond delay="499"/>
                                          </p:stCondLst>
                                        </p:cTn>
                                        <p:tgtEl>
                                          <p:spTgt spid="9"/>
                                        </p:tgtEl>
                                        <p:attrNameLst>
                                          <p:attrName>style.visibility</p:attrName>
                                        </p:attrNameLst>
                                      </p:cBhvr>
                                      <p:to>
                                        <p:strVal val="hidden"/>
                                      </p:to>
                                    </p:set>
                                  </p:childTnLst>
                                </p:cTn>
                              </p:par>
                            </p:childTnLst>
                          </p:cTn>
                        </p:par>
                        <p:par>
                          <p:cTn id="36" fill="hold">
                            <p:stCondLst>
                              <p:cond delay="1000"/>
                            </p:stCondLst>
                            <p:childTnLst>
                              <p:par>
                                <p:cTn id="37" presetID="2" presetClass="entr" presetSubtype="2" decel="100000" fill="hold" nodeType="after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additive="base">
                                        <p:cTn id="39" dur="1000" fill="hold"/>
                                        <p:tgtEl>
                                          <p:spTgt spid="7"/>
                                        </p:tgtEl>
                                        <p:attrNameLst>
                                          <p:attrName>ppt_x</p:attrName>
                                        </p:attrNameLst>
                                      </p:cBhvr>
                                      <p:tavLst>
                                        <p:tav tm="0">
                                          <p:val>
                                            <p:strVal val="1+#ppt_w/2"/>
                                          </p:val>
                                        </p:tav>
                                        <p:tav tm="100000">
                                          <p:val>
                                            <p:strVal val="#ppt_x"/>
                                          </p:val>
                                        </p:tav>
                                      </p:tavLst>
                                    </p:anim>
                                    <p:anim calcmode="lin" valueType="num">
                                      <p:cBhvr additive="base">
                                        <p:cTn id="40" dur="1000" fill="hold"/>
                                        <p:tgtEl>
                                          <p:spTgt spid="7"/>
                                        </p:tgtEl>
                                        <p:attrNameLst>
                                          <p:attrName>ppt_y</p:attrName>
                                        </p:attrNameLst>
                                      </p:cBhvr>
                                      <p:tavLst>
                                        <p:tav tm="0">
                                          <p:val>
                                            <p:strVal val="#ppt_y"/>
                                          </p:val>
                                        </p:tav>
                                        <p:tav tm="100000">
                                          <p:val>
                                            <p:strVal val="#ppt_y"/>
                                          </p:val>
                                        </p:tav>
                                      </p:tavLst>
                                    </p:anim>
                                  </p:childTnLst>
                                </p:cTn>
                              </p:par>
                            </p:childTnLst>
                          </p:cTn>
                        </p:par>
                        <p:par>
                          <p:cTn id="41" fill="hold">
                            <p:stCondLst>
                              <p:cond delay="2000"/>
                            </p:stCondLst>
                            <p:childTnLst>
                              <p:par>
                                <p:cTn id="42" presetID="1" presetClass="entr" presetSubtype="0" fill="hold" grpId="0" nodeType="afterEffect">
                                  <p:stCondLst>
                                    <p:cond delay="0"/>
                                  </p:stCondLst>
                                  <p:childTnLst>
                                    <p:set>
                                      <p:cBhvr>
                                        <p:cTn id="43" dur="1" fill="hold">
                                          <p:stCondLst>
                                            <p:cond delay="0"/>
                                          </p:stCondLst>
                                        </p:cTn>
                                        <p:tgtEl>
                                          <p:spTgt spid="27"/>
                                        </p:tgtEl>
                                        <p:attrNameLst>
                                          <p:attrName>style.visibility</p:attrName>
                                        </p:attrNameLst>
                                      </p:cBhvr>
                                      <p:to>
                                        <p:strVal val="visible"/>
                                      </p:to>
                                    </p:set>
                                  </p:childTnLst>
                                </p:cTn>
                              </p:par>
                              <p:par>
                                <p:cTn id="44" presetID="1" presetClass="entr" presetSubtype="0" fill="hold" grpId="0" nodeType="withEffect">
                                  <p:stCondLst>
                                    <p:cond delay="100"/>
                                  </p:stCondLst>
                                  <p:childTnLst>
                                    <p:set>
                                      <p:cBhvr>
                                        <p:cTn id="45" dur="1" fill="hold">
                                          <p:stCondLst>
                                            <p:cond delay="0"/>
                                          </p:stCondLst>
                                        </p:cTn>
                                        <p:tgtEl>
                                          <p:spTgt spid="61"/>
                                        </p:tgtEl>
                                        <p:attrNameLst>
                                          <p:attrName>style.visibility</p:attrName>
                                        </p:attrNameLst>
                                      </p:cBhvr>
                                      <p:to>
                                        <p:strVal val="visible"/>
                                      </p:to>
                                    </p:set>
                                  </p:childTnLst>
                                </p:cTn>
                              </p:par>
                              <p:par>
                                <p:cTn id="46" presetID="1" presetClass="entr" presetSubtype="0" fill="hold" grpId="0" nodeType="withEffect">
                                  <p:stCondLst>
                                    <p:cond delay="200"/>
                                  </p:stCondLst>
                                  <p:childTnLst>
                                    <p:set>
                                      <p:cBhvr>
                                        <p:cTn id="47" dur="1" fill="hold">
                                          <p:stCondLst>
                                            <p:cond delay="0"/>
                                          </p:stCondLst>
                                        </p:cTn>
                                        <p:tgtEl>
                                          <p:spTgt spid="59"/>
                                        </p:tgtEl>
                                        <p:attrNameLst>
                                          <p:attrName>style.visibility</p:attrName>
                                        </p:attrNameLst>
                                      </p:cBhvr>
                                      <p:to>
                                        <p:strVal val="visible"/>
                                      </p:to>
                                    </p:set>
                                  </p:childTnLst>
                                </p:cTn>
                              </p:par>
                              <p:par>
                                <p:cTn id="48" presetID="1" presetClass="entr" presetSubtype="0" fill="hold" grpId="0" nodeType="withEffect">
                                  <p:stCondLst>
                                    <p:cond delay="300"/>
                                  </p:stCondLst>
                                  <p:childTnLst>
                                    <p:set>
                                      <p:cBhvr>
                                        <p:cTn id="49" dur="1" fill="hold">
                                          <p:stCondLst>
                                            <p:cond delay="0"/>
                                          </p:stCondLst>
                                        </p:cTn>
                                        <p:tgtEl>
                                          <p:spTgt spid="57"/>
                                        </p:tgtEl>
                                        <p:attrNameLst>
                                          <p:attrName>style.visibility</p:attrName>
                                        </p:attrNameLst>
                                      </p:cBhvr>
                                      <p:to>
                                        <p:strVal val="visible"/>
                                      </p:to>
                                    </p:set>
                                  </p:childTnLst>
                                </p:cTn>
                              </p:par>
                              <p:par>
                                <p:cTn id="50" presetID="1" presetClass="entr" presetSubtype="0" fill="hold" grpId="0" nodeType="withEffect">
                                  <p:stCondLst>
                                    <p:cond delay="400"/>
                                  </p:stCondLst>
                                  <p:childTnLst>
                                    <p:set>
                                      <p:cBhvr>
                                        <p:cTn id="51" dur="1" fill="hold">
                                          <p:stCondLst>
                                            <p:cond delay="0"/>
                                          </p:stCondLst>
                                        </p:cTn>
                                        <p:tgtEl>
                                          <p:spTgt spid="55"/>
                                        </p:tgtEl>
                                        <p:attrNameLst>
                                          <p:attrName>style.visibility</p:attrName>
                                        </p:attrNameLst>
                                      </p:cBhvr>
                                      <p:to>
                                        <p:strVal val="visible"/>
                                      </p:to>
                                    </p:set>
                                  </p:childTnLst>
                                </p:cTn>
                              </p:par>
                              <p:par>
                                <p:cTn id="52" presetID="1" presetClass="entr" presetSubtype="0" fill="hold" grpId="0" nodeType="withEffect">
                                  <p:stCondLst>
                                    <p:cond delay="500"/>
                                  </p:stCondLst>
                                  <p:childTnLst>
                                    <p:set>
                                      <p:cBhvr>
                                        <p:cTn id="53" dur="1" fill="hold">
                                          <p:stCondLst>
                                            <p:cond delay="0"/>
                                          </p:stCondLst>
                                        </p:cTn>
                                        <p:tgtEl>
                                          <p:spTgt spid="58"/>
                                        </p:tgtEl>
                                        <p:attrNameLst>
                                          <p:attrName>style.visibility</p:attrName>
                                        </p:attrNameLst>
                                      </p:cBhvr>
                                      <p:to>
                                        <p:strVal val="visible"/>
                                      </p:to>
                                    </p:set>
                                  </p:childTnLst>
                                </p:cTn>
                              </p:par>
                              <p:par>
                                <p:cTn id="54" presetID="1" presetClass="entr" presetSubtype="0" fill="hold" grpId="0" nodeType="withEffect">
                                  <p:stCondLst>
                                    <p:cond delay="600"/>
                                  </p:stCondLst>
                                  <p:childTnLst>
                                    <p:set>
                                      <p:cBhvr>
                                        <p:cTn id="55" dur="1" fill="hold">
                                          <p:stCondLst>
                                            <p:cond delay="0"/>
                                          </p:stCondLst>
                                        </p:cTn>
                                        <p:tgtEl>
                                          <p:spTgt spid="56"/>
                                        </p:tgtEl>
                                        <p:attrNameLst>
                                          <p:attrName>style.visibility</p:attrName>
                                        </p:attrNameLst>
                                      </p:cBhvr>
                                      <p:to>
                                        <p:strVal val="visible"/>
                                      </p:to>
                                    </p:set>
                                  </p:childTnLst>
                                </p:cTn>
                              </p:par>
                              <p:par>
                                <p:cTn id="56" presetID="1" presetClass="entr" presetSubtype="0" fill="hold" grpId="0" nodeType="withEffect">
                                  <p:stCondLst>
                                    <p:cond delay="700"/>
                                  </p:stCondLst>
                                  <p:childTnLst>
                                    <p:set>
                                      <p:cBhvr>
                                        <p:cTn id="57" dur="1" fill="hold">
                                          <p:stCondLst>
                                            <p:cond delay="0"/>
                                          </p:stCondLst>
                                        </p:cTn>
                                        <p:tgtEl>
                                          <p:spTgt spid="60"/>
                                        </p:tgtEl>
                                        <p:attrNameLst>
                                          <p:attrName>style.visibility</p:attrName>
                                        </p:attrNameLst>
                                      </p:cBhvr>
                                      <p:to>
                                        <p:strVal val="visible"/>
                                      </p:to>
                                    </p:set>
                                  </p:childTnLst>
                                </p:cTn>
                              </p:par>
                            </p:childTnLst>
                          </p:cTn>
                        </p:par>
                        <p:par>
                          <p:cTn id="58" fill="hold">
                            <p:stCondLst>
                              <p:cond delay="2700"/>
                            </p:stCondLst>
                            <p:childTnLst>
                              <p:par>
                                <p:cTn id="59" presetID="26" presetClass="emph" presetSubtype="0" repeatCount="indefinite" fill="hold" grpId="1" nodeType="afterEffect">
                                  <p:stCondLst>
                                    <p:cond delay="0"/>
                                  </p:stCondLst>
                                  <p:endCondLst>
                                    <p:cond evt="onNext" delay="0">
                                      <p:tgtEl>
                                        <p:sldTgt/>
                                      </p:tgtEl>
                                    </p:cond>
                                  </p:endCondLst>
                                  <p:childTnLst>
                                    <p:animEffect transition="out" filter="fade">
                                      <p:cBhvr>
                                        <p:cTn id="60" dur="500" tmFilter="0, 0; .2, .5; .8, .5; 1, 0"/>
                                        <p:tgtEl>
                                          <p:spTgt spid="27"/>
                                        </p:tgtEl>
                                      </p:cBhvr>
                                    </p:animEffect>
                                    <p:animScale>
                                      <p:cBhvr>
                                        <p:cTn id="61" dur="250" autoRev="1" fill="hold"/>
                                        <p:tgtEl>
                                          <p:spTgt spid="27"/>
                                        </p:tgtEl>
                                      </p:cBhvr>
                                      <p:by x="105000" y="105000"/>
                                    </p:animScale>
                                  </p:childTnLst>
                                </p:cTn>
                              </p:par>
                              <p:par>
                                <p:cTn id="62" presetID="26" presetClass="emph" presetSubtype="0" repeatCount="indefinite" fill="hold" grpId="1" nodeType="withEffect">
                                  <p:stCondLst>
                                    <p:cond delay="500"/>
                                  </p:stCondLst>
                                  <p:endCondLst>
                                    <p:cond evt="onNext" delay="0">
                                      <p:tgtEl>
                                        <p:sldTgt/>
                                      </p:tgtEl>
                                    </p:cond>
                                  </p:endCondLst>
                                  <p:childTnLst>
                                    <p:animEffect transition="out" filter="fade">
                                      <p:cBhvr>
                                        <p:cTn id="63" dur="500" tmFilter="0, 0; .2, .5; .8, .5; 1, 0"/>
                                        <p:tgtEl>
                                          <p:spTgt spid="61"/>
                                        </p:tgtEl>
                                      </p:cBhvr>
                                    </p:animEffect>
                                    <p:animScale>
                                      <p:cBhvr>
                                        <p:cTn id="64" dur="250" autoRev="1" fill="hold"/>
                                        <p:tgtEl>
                                          <p:spTgt spid="61"/>
                                        </p:tgtEl>
                                      </p:cBhvr>
                                      <p:by x="105000" y="105000"/>
                                    </p:animScale>
                                  </p:childTnLst>
                                </p:cTn>
                              </p:par>
                              <p:par>
                                <p:cTn id="65" presetID="26" presetClass="emph" presetSubtype="0" repeatCount="indefinite" fill="hold" grpId="1" nodeType="withEffect">
                                  <p:stCondLst>
                                    <p:cond delay="250"/>
                                  </p:stCondLst>
                                  <p:endCondLst>
                                    <p:cond evt="onNext" delay="0">
                                      <p:tgtEl>
                                        <p:sldTgt/>
                                      </p:tgtEl>
                                    </p:cond>
                                  </p:endCondLst>
                                  <p:childTnLst>
                                    <p:animEffect transition="out" filter="fade">
                                      <p:cBhvr>
                                        <p:cTn id="66" dur="500" tmFilter="0, 0; .2, .5; .8, .5; 1, 0"/>
                                        <p:tgtEl>
                                          <p:spTgt spid="59"/>
                                        </p:tgtEl>
                                      </p:cBhvr>
                                    </p:animEffect>
                                    <p:animScale>
                                      <p:cBhvr>
                                        <p:cTn id="67" dur="250" autoRev="1" fill="hold"/>
                                        <p:tgtEl>
                                          <p:spTgt spid="59"/>
                                        </p:tgtEl>
                                      </p:cBhvr>
                                      <p:by x="105000" y="105000"/>
                                    </p:animScale>
                                  </p:childTnLst>
                                </p:cTn>
                              </p:par>
                              <p:par>
                                <p:cTn id="68" presetID="26" presetClass="emph" presetSubtype="0" repeatCount="indefinite" fill="hold" grpId="1" nodeType="withEffect">
                                  <p:stCondLst>
                                    <p:cond delay="750"/>
                                  </p:stCondLst>
                                  <p:endCondLst>
                                    <p:cond evt="onNext" delay="0">
                                      <p:tgtEl>
                                        <p:sldTgt/>
                                      </p:tgtEl>
                                    </p:cond>
                                  </p:endCondLst>
                                  <p:childTnLst>
                                    <p:animEffect transition="out" filter="fade">
                                      <p:cBhvr>
                                        <p:cTn id="69" dur="500" tmFilter="0, 0; .2, .5; .8, .5; 1, 0"/>
                                        <p:tgtEl>
                                          <p:spTgt spid="57"/>
                                        </p:tgtEl>
                                      </p:cBhvr>
                                    </p:animEffect>
                                    <p:animScale>
                                      <p:cBhvr>
                                        <p:cTn id="70" dur="250" autoRev="1" fill="hold"/>
                                        <p:tgtEl>
                                          <p:spTgt spid="57"/>
                                        </p:tgtEl>
                                      </p:cBhvr>
                                      <p:by x="105000" y="105000"/>
                                    </p:animScale>
                                  </p:childTnLst>
                                </p:cTn>
                              </p:par>
                              <p:par>
                                <p:cTn id="71" presetID="26" presetClass="emph" presetSubtype="0" repeatCount="indefinite" fill="hold" grpId="1" nodeType="withEffect">
                                  <p:stCondLst>
                                    <p:cond delay="250"/>
                                  </p:stCondLst>
                                  <p:endCondLst>
                                    <p:cond evt="onNext" delay="0">
                                      <p:tgtEl>
                                        <p:sldTgt/>
                                      </p:tgtEl>
                                    </p:cond>
                                  </p:endCondLst>
                                  <p:childTnLst>
                                    <p:animEffect transition="out" filter="fade">
                                      <p:cBhvr>
                                        <p:cTn id="72" dur="500" tmFilter="0, 0; .2, .5; .8, .5; 1, 0"/>
                                        <p:tgtEl>
                                          <p:spTgt spid="55"/>
                                        </p:tgtEl>
                                      </p:cBhvr>
                                    </p:animEffect>
                                    <p:animScale>
                                      <p:cBhvr>
                                        <p:cTn id="73" dur="250" autoRev="1" fill="hold"/>
                                        <p:tgtEl>
                                          <p:spTgt spid="55"/>
                                        </p:tgtEl>
                                      </p:cBhvr>
                                      <p:by x="105000" y="105000"/>
                                    </p:animScale>
                                  </p:childTnLst>
                                </p:cTn>
                              </p:par>
                              <p:par>
                                <p:cTn id="74" presetID="26" presetClass="emph" presetSubtype="0" repeatCount="indefinite" fill="hold" grpId="1" nodeType="withEffect">
                                  <p:stCondLst>
                                    <p:cond delay="500"/>
                                  </p:stCondLst>
                                  <p:endCondLst>
                                    <p:cond evt="onNext" delay="0">
                                      <p:tgtEl>
                                        <p:sldTgt/>
                                      </p:tgtEl>
                                    </p:cond>
                                  </p:endCondLst>
                                  <p:childTnLst>
                                    <p:animEffect transition="out" filter="fade">
                                      <p:cBhvr>
                                        <p:cTn id="75" dur="500" tmFilter="0, 0; .2, .5; .8, .5; 1, 0"/>
                                        <p:tgtEl>
                                          <p:spTgt spid="58"/>
                                        </p:tgtEl>
                                      </p:cBhvr>
                                    </p:animEffect>
                                    <p:animScale>
                                      <p:cBhvr>
                                        <p:cTn id="76" dur="250" autoRev="1" fill="hold"/>
                                        <p:tgtEl>
                                          <p:spTgt spid="58"/>
                                        </p:tgtEl>
                                      </p:cBhvr>
                                      <p:by x="105000" y="105000"/>
                                    </p:animScale>
                                  </p:childTnLst>
                                </p:cTn>
                              </p:par>
                              <p:par>
                                <p:cTn id="77" presetID="26" presetClass="emph" presetSubtype="0" repeatCount="indefinite" fill="hold" grpId="1" nodeType="withEffect">
                                  <p:stCondLst>
                                    <p:cond delay="0"/>
                                  </p:stCondLst>
                                  <p:endCondLst>
                                    <p:cond evt="onNext" delay="0">
                                      <p:tgtEl>
                                        <p:sldTgt/>
                                      </p:tgtEl>
                                    </p:cond>
                                  </p:endCondLst>
                                  <p:childTnLst>
                                    <p:animEffect transition="out" filter="fade">
                                      <p:cBhvr>
                                        <p:cTn id="78" dur="500" tmFilter="0, 0; .2, .5; .8, .5; 1, 0"/>
                                        <p:tgtEl>
                                          <p:spTgt spid="56"/>
                                        </p:tgtEl>
                                      </p:cBhvr>
                                    </p:animEffect>
                                    <p:animScale>
                                      <p:cBhvr>
                                        <p:cTn id="79" dur="250" autoRev="1" fill="hold"/>
                                        <p:tgtEl>
                                          <p:spTgt spid="56"/>
                                        </p:tgtEl>
                                      </p:cBhvr>
                                      <p:by x="105000" y="105000"/>
                                    </p:animScale>
                                  </p:childTnLst>
                                </p:cTn>
                              </p:par>
                              <p:par>
                                <p:cTn id="80" presetID="26" presetClass="emph" presetSubtype="0" repeatCount="indefinite" fill="hold" grpId="1" nodeType="withEffect">
                                  <p:stCondLst>
                                    <p:cond delay="1000"/>
                                  </p:stCondLst>
                                  <p:endCondLst>
                                    <p:cond evt="onNext" delay="0">
                                      <p:tgtEl>
                                        <p:sldTgt/>
                                      </p:tgtEl>
                                    </p:cond>
                                  </p:endCondLst>
                                  <p:childTnLst>
                                    <p:animEffect transition="out" filter="fade">
                                      <p:cBhvr>
                                        <p:cTn id="81" dur="500" tmFilter="0, 0; .2, .5; .8, .5; 1, 0"/>
                                        <p:tgtEl>
                                          <p:spTgt spid="60"/>
                                        </p:tgtEl>
                                      </p:cBhvr>
                                    </p:animEffect>
                                    <p:animScale>
                                      <p:cBhvr>
                                        <p:cTn id="82" dur="250" autoRev="1" fill="hold"/>
                                        <p:tgtEl>
                                          <p:spTgt spid="60"/>
                                        </p:tgtEl>
                                      </p:cBhvr>
                                      <p:by x="105000" y="105000"/>
                                    </p:animScale>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8"/>
                                        </p:tgtEl>
                                        <p:attrNameLst>
                                          <p:attrName>style.visibility</p:attrName>
                                        </p:attrNameLst>
                                      </p:cBhvr>
                                      <p:to>
                                        <p:strVal val="visible"/>
                                      </p:to>
                                    </p:set>
                                    <p:animEffect transition="in" filter="fade">
                                      <p:cBhvr>
                                        <p:cTn id="87" dur="500"/>
                                        <p:tgtEl>
                                          <p:spTgt spid="8"/>
                                        </p:tgtEl>
                                      </p:cBhvr>
                                    </p:animEffect>
                                  </p:childTnLst>
                                </p:cTn>
                              </p:par>
                              <p:par>
                                <p:cTn id="88" presetID="53" presetClass="entr" presetSubtype="16" fill="hold" nodeType="withEffect">
                                  <p:stCondLst>
                                    <p:cond delay="0"/>
                                  </p:stCondLst>
                                  <p:childTnLst>
                                    <p:set>
                                      <p:cBhvr>
                                        <p:cTn id="89" dur="1" fill="hold">
                                          <p:stCondLst>
                                            <p:cond delay="0"/>
                                          </p:stCondLst>
                                        </p:cTn>
                                        <p:tgtEl>
                                          <p:spTgt spid="24"/>
                                        </p:tgtEl>
                                        <p:attrNameLst>
                                          <p:attrName>style.visibility</p:attrName>
                                        </p:attrNameLst>
                                      </p:cBhvr>
                                      <p:to>
                                        <p:strVal val="visible"/>
                                      </p:to>
                                    </p:set>
                                    <p:anim calcmode="lin" valueType="num">
                                      <p:cBhvr>
                                        <p:cTn id="90" dur="250" fill="hold"/>
                                        <p:tgtEl>
                                          <p:spTgt spid="24"/>
                                        </p:tgtEl>
                                        <p:attrNameLst>
                                          <p:attrName>ppt_w</p:attrName>
                                        </p:attrNameLst>
                                      </p:cBhvr>
                                      <p:tavLst>
                                        <p:tav tm="0">
                                          <p:val>
                                            <p:fltVal val="0"/>
                                          </p:val>
                                        </p:tav>
                                        <p:tav tm="100000">
                                          <p:val>
                                            <p:strVal val="#ppt_w"/>
                                          </p:val>
                                        </p:tav>
                                      </p:tavLst>
                                    </p:anim>
                                    <p:anim calcmode="lin" valueType="num">
                                      <p:cBhvr>
                                        <p:cTn id="91" dur="250" fill="hold"/>
                                        <p:tgtEl>
                                          <p:spTgt spid="24"/>
                                        </p:tgtEl>
                                        <p:attrNameLst>
                                          <p:attrName>ppt_h</p:attrName>
                                        </p:attrNameLst>
                                      </p:cBhvr>
                                      <p:tavLst>
                                        <p:tav tm="0">
                                          <p:val>
                                            <p:fltVal val="0"/>
                                          </p:val>
                                        </p:tav>
                                        <p:tav tm="100000">
                                          <p:val>
                                            <p:strVal val="#ppt_h"/>
                                          </p:val>
                                        </p:tav>
                                      </p:tavLst>
                                    </p:anim>
                                    <p:animEffect transition="in" filter="fade">
                                      <p:cBhvr>
                                        <p:cTn id="92" dur="250"/>
                                        <p:tgtEl>
                                          <p:spTgt spid="24"/>
                                        </p:tgtEl>
                                      </p:cBhvr>
                                    </p:animEffect>
                                  </p:childTnLst>
                                </p:cTn>
                              </p:par>
                            </p:childTnLst>
                          </p:cTn>
                        </p:par>
                        <p:par>
                          <p:cTn id="93" fill="hold">
                            <p:stCondLst>
                              <p:cond delay="500"/>
                            </p:stCondLst>
                            <p:childTnLst>
                              <p:par>
                                <p:cTn id="94" presetID="1" presetClass="entr" presetSubtype="0" fill="hold" nodeType="afterEffect">
                                  <p:stCondLst>
                                    <p:cond delay="500"/>
                                  </p:stCondLst>
                                  <p:childTnLst>
                                    <p:set>
                                      <p:cBhvr>
                                        <p:cTn id="95" dur="1" fill="hold">
                                          <p:stCondLst>
                                            <p:cond delay="0"/>
                                          </p:stCondLst>
                                        </p:cTn>
                                        <p:tgtEl>
                                          <p:spTgt spid="4"/>
                                        </p:tgtEl>
                                        <p:attrNameLst>
                                          <p:attrName>style.visibility</p:attrName>
                                        </p:attrNameLst>
                                      </p:cBhvr>
                                      <p:to>
                                        <p:strVal val="visible"/>
                                      </p:to>
                                    </p:set>
                                  </p:childTnLst>
                                </p:cTn>
                              </p:par>
                              <p:par>
                                <p:cTn id="96" presetID="1" presetClass="entr" presetSubtype="0" fill="hold" nodeType="withEffect">
                                  <p:stCondLst>
                                    <p:cond delay="500"/>
                                  </p:stCondLst>
                                  <p:childTnLst>
                                    <p:set>
                                      <p:cBhvr>
                                        <p:cTn id="97" dur="1" fill="hold">
                                          <p:stCondLst>
                                            <p:cond delay="0"/>
                                          </p:stCondLst>
                                        </p:cTn>
                                        <p:tgtEl>
                                          <p:spTgt spid="53"/>
                                        </p:tgtEl>
                                        <p:attrNameLst>
                                          <p:attrName>style.visibility</p:attrName>
                                        </p:attrNameLst>
                                      </p:cBhvr>
                                      <p:to>
                                        <p:strVal val="visible"/>
                                      </p:to>
                                    </p:set>
                                  </p:childTnLst>
                                </p:cTn>
                              </p:par>
                              <p:par>
                                <p:cTn id="98" presetID="1" presetClass="entr" presetSubtype="0" fill="hold" nodeType="withEffect">
                                  <p:stCondLst>
                                    <p:cond delay="500"/>
                                  </p:stCondLst>
                                  <p:childTnLst>
                                    <p:set>
                                      <p:cBhvr>
                                        <p:cTn id="99" dur="1" fill="hold">
                                          <p:stCondLst>
                                            <p:cond delay="0"/>
                                          </p:stCondLst>
                                        </p:cTn>
                                        <p:tgtEl>
                                          <p:spTgt spid="69"/>
                                        </p:tgtEl>
                                        <p:attrNameLst>
                                          <p:attrName>style.visibility</p:attrName>
                                        </p:attrNameLst>
                                      </p:cBhvr>
                                      <p:to>
                                        <p:strVal val="visible"/>
                                      </p:to>
                                    </p:set>
                                  </p:childTnLst>
                                </p:cTn>
                              </p:par>
                              <p:par>
                                <p:cTn id="100" presetID="1" presetClass="entr" presetSubtype="0" fill="hold" nodeType="withEffect">
                                  <p:stCondLst>
                                    <p:cond delay="500"/>
                                  </p:stCondLst>
                                  <p:childTnLst>
                                    <p:set>
                                      <p:cBhvr>
                                        <p:cTn id="101" dur="1" fill="hold">
                                          <p:stCondLst>
                                            <p:cond delay="0"/>
                                          </p:stCondLst>
                                        </p:cTn>
                                        <p:tgtEl>
                                          <p:spTgt spid="10"/>
                                        </p:tgtEl>
                                        <p:attrNameLst>
                                          <p:attrName>style.visibility</p:attrName>
                                        </p:attrNameLst>
                                      </p:cBhvr>
                                      <p:to>
                                        <p:strVal val="visible"/>
                                      </p:to>
                                    </p:set>
                                  </p:childTnLst>
                                </p:cTn>
                              </p:par>
                              <p:par>
                                <p:cTn id="102" presetID="42" presetClass="path" presetSubtype="0" accel="100000" autoRev="1" fill="hold" nodeType="withEffect">
                                  <p:stCondLst>
                                    <p:cond delay="0"/>
                                  </p:stCondLst>
                                  <p:childTnLst>
                                    <p:animMotion origin="layout" path="M -3.28057E-6 -4.79346E-6 L -0.28478 0.1473 " pathEditMode="relative" rAng="0" ptsTypes="AA">
                                      <p:cBhvr>
                                        <p:cTn id="103" dur="500" fill="hold"/>
                                        <p:tgtEl>
                                          <p:spTgt spid="4"/>
                                        </p:tgtEl>
                                        <p:attrNameLst>
                                          <p:attrName>ppt_x</p:attrName>
                                          <p:attrName>ppt_y</p:attrName>
                                        </p:attrNameLst>
                                      </p:cBhvr>
                                      <p:rCtr x="-13939" y="7762"/>
                                    </p:animMotion>
                                  </p:childTnLst>
                                </p:cTn>
                              </p:par>
                              <p:par>
                                <p:cTn id="104" presetID="6" presetClass="emph" presetSubtype="0" accel="100000" autoRev="1" fill="hold" nodeType="withEffect">
                                  <p:stCondLst>
                                    <p:cond delay="0"/>
                                  </p:stCondLst>
                                  <p:childTnLst>
                                    <p:animScale>
                                      <p:cBhvr>
                                        <p:cTn id="105" dur="500" fill="hold"/>
                                        <p:tgtEl>
                                          <p:spTgt spid="4"/>
                                        </p:tgtEl>
                                      </p:cBhvr>
                                      <p:by x="13160" y="13160"/>
                                    </p:animScale>
                                  </p:childTnLst>
                                </p:cTn>
                              </p:par>
                              <p:par>
                                <p:cTn id="106" presetID="42" presetClass="path" presetSubtype="0" accel="100000" autoRev="1" fill="hold" nodeType="withEffect">
                                  <p:stCondLst>
                                    <p:cond delay="0"/>
                                  </p:stCondLst>
                                  <p:childTnLst>
                                    <p:animMotion origin="layout" path="M 1.21266E-6 -4.79346E-6 L 0.01481 0.1473 " pathEditMode="relative" rAng="0" ptsTypes="AA">
                                      <p:cBhvr>
                                        <p:cTn id="107" dur="500" fill="hold"/>
                                        <p:tgtEl>
                                          <p:spTgt spid="10"/>
                                        </p:tgtEl>
                                        <p:attrNameLst>
                                          <p:attrName>ppt_x</p:attrName>
                                          <p:attrName>ppt_y</p:attrName>
                                        </p:attrNameLst>
                                      </p:cBhvr>
                                      <p:rCtr x="932" y="7581"/>
                                    </p:animMotion>
                                  </p:childTnLst>
                                </p:cTn>
                              </p:par>
                              <p:par>
                                <p:cTn id="108" presetID="6" presetClass="emph" presetSubtype="0" accel="100000" autoRev="1" fill="hold" nodeType="withEffect">
                                  <p:stCondLst>
                                    <p:cond delay="0"/>
                                  </p:stCondLst>
                                  <p:childTnLst>
                                    <p:animScale>
                                      <p:cBhvr>
                                        <p:cTn id="109" dur="500" fill="hold"/>
                                        <p:tgtEl>
                                          <p:spTgt spid="10"/>
                                        </p:tgtEl>
                                      </p:cBhvr>
                                      <p:by x="13160" y="13160"/>
                                    </p:animScale>
                                  </p:childTnLst>
                                </p:cTn>
                              </p:par>
                              <p:par>
                                <p:cTn id="110" presetID="42" presetClass="path" presetSubtype="0" decel="100000" fill="hold" nodeType="withEffect">
                                  <p:stCondLst>
                                    <p:cond delay="500"/>
                                  </p:stCondLst>
                                  <p:childTnLst>
                                    <p:animMotion origin="layout" path="M 9.93107E-7 -3.931E-6 L 0.28478 -0.1473 " pathEditMode="relative" rAng="0" ptsTypes="AA">
                                      <p:cBhvr>
                                        <p:cTn id="111" dur="500" fill="hold"/>
                                        <p:tgtEl>
                                          <p:spTgt spid="53"/>
                                        </p:tgtEl>
                                        <p:attrNameLst>
                                          <p:attrName>ppt_x</p:attrName>
                                          <p:attrName>ppt_y</p:attrName>
                                        </p:attrNameLst>
                                      </p:cBhvr>
                                      <p:rCtr x="14463" y="-7308"/>
                                    </p:animMotion>
                                  </p:childTnLst>
                                </p:cTn>
                              </p:par>
                              <p:par>
                                <p:cTn id="112" presetID="42" presetClass="path" presetSubtype="0" decel="100000" fill="hold" nodeType="withEffect">
                                  <p:stCondLst>
                                    <p:cond delay="500"/>
                                  </p:stCondLst>
                                  <p:childTnLst>
                                    <p:animMotion origin="layout" path="M 3.96222E-6 -3.931E-6 L -0.01481 -0.1473 " pathEditMode="relative" rAng="0" ptsTypes="AA">
                                      <p:cBhvr>
                                        <p:cTn id="113" dur="500" fill="hold"/>
                                        <p:tgtEl>
                                          <p:spTgt spid="69"/>
                                        </p:tgtEl>
                                        <p:attrNameLst>
                                          <p:attrName>ppt_x</p:attrName>
                                          <p:attrName>ppt_y</p:attrName>
                                        </p:attrNameLst>
                                      </p:cBhvr>
                                      <p:rCtr x="-511" y="-7308"/>
                                    </p:animMotion>
                                  </p:childTnLst>
                                </p:cTn>
                              </p:par>
                              <p:par>
                                <p:cTn id="114" presetID="10" presetClass="exit" presetSubtype="0" fill="hold" nodeType="withEffect">
                                  <p:stCondLst>
                                    <p:cond delay="500"/>
                                  </p:stCondLst>
                                  <p:childTnLst>
                                    <p:animEffect transition="out" filter="fade">
                                      <p:cBhvr>
                                        <p:cTn id="115" dur="500"/>
                                        <p:tgtEl>
                                          <p:spTgt spid="53"/>
                                        </p:tgtEl>
                                      </p:cBhvr>
                                    </p:animEffect>
                                    <p:set>
                                      <p:cBhvr>
                                        <p:cTn id="116" dur="1" fill="hold">
                                          <p:stCondLst>
                                            <p:cond delay="499"/>
                                          </p:stCondLst>
                                        </p:cTn>
                                        <p:tgtEl>
                                          <p:spTgt spid="53"/>
                                        </p:tgtEl>
                                        <p:attrNameLst>
                                          <p:attrName>style.visibility</p:attrName>
                                        </p:attrNameLst>
                                      </p:cBhvr>
                                      <p:to>
                                        <p:strVal val="hidden"/>
                                      </p:to>
                                    </p:set>
                                  </p:childTnLst>
                                </p:cTn>
                              </p:par>
                              <p:par>
                                <p:cTn id="117" presetID="10" presetClass="exit" presetSubtype="0" fill="hold" nodeType="withEffect">
                                  <p:stCondLst>
                                    <p:cond delay="500"/>
                                  </p:stCondLst>
                                  <p:childTnLst>
                                    <p:animEffect transition="out" filter="fade">
                                      <p:cBhvr>
                                        <p:cTn id="118" dur="500"/>
                                        <p:tgtEl>
                                          <p:spTgt spid="69"/>
                                        </p:tgtEl>
                                      </p:cBhvr>
                                    </p:animEffect>
                                    <p:set>
                                      <p:cBhvr>
                                        <p:cTn id="119" dur="1" fill="hold">
                                          <p:stCondLst>
                                            <p:cond delay="499"/>
                                          </p:stCondLst>
                                        </p:cTn>
                                        <p:tgtEl>
                                          <p:spTgt spid="69"/>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4"/>
                                        </p:tgtEl>
                                      </p:cBhvr>
                                    </p:animEffect>
                                    <p:set>
                                      <p:cBhvr>
                                        <p:cTn id="122" dur="1" fill="hold">
                                          <p:stCondLst>
                                            <p:cond delay="499"/>
                                          </p:stCondLst>
                                        </p:cTn>
                                        <p:tgtEl>
                                          <p:spTgt spid="4"/>
                                        </p:tgtEl>
                                        <p:attrNameLst>
                                          <p:attrName>style.visibility</p:attrName>
                                        </p:attrNameLst>
                                      </p:cBhvr>
                                      <p:to>
                                        <p:strVal val="hidden"/>
                                      </p:to>
                                    </p:set>
                                  </p:childTnLst>
                                </p:cTn>
                              </p:par>
                              <p:par>
                                <p:cTn id="123" presetID="10" presetClass="exit" presetSubtype="0" fill="hold" grpId="2" nodeType="withEffect">
                                  <p:stCondLst>
                                    <p:cond delay="500"/>
                                  </p:stCondLst>
                                  <p:childTnLst>
                                    <p:animEffect transition="out" filter="fade">
                                      <p:cBhvr>
                                        <p:cTn id="124" dur="500"/>
                                        <p:tgtEl>
                                          <p:spTgt spid="55"/>
                                        </p:tgtEl>
                                      </p:cBhvr>
                                    </p:animEffect>
                                    <p:set>
                                      <p:cBhvr>
                                        <p:cTn id="125" dur="1" fill="hold">
                                          <p:stCondLst>
                                            <p:cond delay="499"/>
                                          </p:stCondLst>
                                        </p:cTn>
                                        <p:tgtEl>
                                          <p:spTgt spid="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6" grpId="0"/>
      <p:bldP spid="27" grpId="0" animBg="1"/>
      <p:bldP spid="27" grpId="1" animBg="1"/>
      <p:bldP spid="55" grpId="0" animBg="1"/>
      <p:bldP spid="55" grpId="1" animBg="1"/>
      <p:bldP spid="55" grpId="2" animBg="1"/>
      <p:bldP spid="56" grpId="0" animBg="1"/>
      <p:bldP spid="56" grpId="1" animBg="1"/>
      <p:bldP spid="57" grpId="0" animBg="1"/>
      <p:bldP spid="57" grpId="1" animBg="1"/>
      <p:bldP spid="58" grpId="0" animBg="1"/>
      <p:bldP spid="58" grpId="1" animBg="1"/>
      <p:bldP spid="60" grpId="0" animBg="1"/>
      <p:bldP spid="60" grpId="1" animBg="1"/>
      <p:bldP spid="61" grpId="0" animBg="1"/>
      <p:bldP spid="61" grpId="1" animBg="1"/>
      <p:bldP spid="59" grpId="0" animBg="1"/>
      <p:bldP spid="59" grpId="1"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1515" y="3123233"/>
            <a:ext cx="4011640" cy="1126462"/>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Security reporting that tracks inconsistent access patterns, analytics and </a:t>
            </a:r>
            <a:r>
              <a:rPr lang="en-US" sz="2000" b="1" spc="-90" dirty="0">
                <a:gradFill>
                  <a:gsLst>
                    <a:gs pos="3670">
                      <a:srgbClr val="008272"/>
                    </a:gs>
                    <a:gs pos="100000">
                      <a:srgbClr val="008272"/>
                    </a:gs>
                  </a:gsLst>
                  <a:lin ang="5400000" scaled="0"/>
                </a:gradFill>
              </a:rPr>
              <a:t>alerts</a:t>
            </a:r>
            <a:r>
              <a:rPr lang="en-US" sz="2000" spc="-90" dirty="0">
                <a:gradFill>
                  <a:gsLst>
                    <a:gs pos="3670">
                      <a:srgbClr val="008272"/>
                    </a:gs>
                    <a:gs pos="100000">
                      <a:srgbClr val="008272"/>
                    </a:gs>
                  </a:gsLst>
                  <a:lin ang="5400000" scaled="0"/>
                </a:gradFill>
              </a:rPr>
              <a:t>.</a:t>
            </a:r>
          </a:p>
        </p:txBody>
      </p:sp>
      <p:sp>
        <p:nvSpPr>
          <p:cNvPr id="16" name="Rectangle 15"/>
          <p:cNvSpPr/>
          <p:nvPr/>
        </p:nvSpPr>
        <p:spPr>
          <a:xfrm>
            <a:off x="281515" y="2243547"/>
            <a:ext cx="4051829" cy="572464"/>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smtClean="0">
                <a:gradFill>
                  <a:gsLst>
                    <a:gs pos="3670">
                      <a:srgbClr val="505050"/>
                    </a:gs>
                    <a:gs pos="100000">
                      <a:srgbClr val="505050"/>
                    </a:gs>
                  </a:gsLst>
                  <a:lin ang="5400000" scaled="0"/>
                </a:gradFill>
              </a:rPr>
              <a:t>Built-in </a:t>
            </a:r>
            <a:r>
              <a:rPr lang="en-US" sz="2000" spc="-90" dirty="0">
                <a:gradFill>
                  <a:gsLst>
                    <a:gs pos="3670">
                      <a:srgbClr val="505050"/>
                    </a:gs>
                    <a:gs pos="100000">
                      <a:srgbClr val="505050"/>
                    </a:gs>
                  </a:gsLst>
                  <a:lin ang="5400000" scaled="0"/>
                </a:gradFill>
              </a:rPr>
              <a:t>s</a:t>
            </a:r>
            <a:r>
              <a:rPr lang="en-US" sz="2000" spc="-90" dirty="0" smtClean="0">
                <a:gradFill>
                  <a:gsLst>
                    <a:gs pos="3670">
                      <a:srgbClr val="505050"/>
                    </a:gs>
                    <a:gs pos="100000">
                      <a:srgbClr val="505050"/>
                    </a:gs>
                  </a:gsLst>
                  <a:lin ang="5400000" scaled="0"/>
                </a:gradFill>
              </a:rPr>
              <a:t>ecurity features.</a:t>
            </a:r>
            <a:endParaRPr lang="en-US" sz="2000" spc="-90" dirty="0">
              <a:gradFill>
                <a:gsLst>
                  <a:gs pos="3670">
                    <a:srgbClr val="505050"/>
                  </a:gs>
                  <a:gs pos="100000">
                    <a:srgbClr val="505050"/>
                  </a:gs>
                </a:gsLst>
                <a:lin ang="5400000" scaled="0"/>
              </a:gradFill>
            </a:endParaRPr>
          </a:p>
        </p:txBody>
      </p:sp>
      <p:sp>
        <p:nvSpPr>
          <p:cNvPr id="11" name="Rectangle 10"/>
          <p:cNvSpPr/>
          <p:nvPr/>
        </p:nvSpPr>
        <p:spPr bwMode="auto">
          <a:xfrm>
            <a:off x="-6447" y="9706"/>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solidFill>
            <a:srgbClr val="FFFFFF"/>
          </a:solidFill>
        </p:spPr>
        <p:txBody>
          <a:bodyPr lIns="1920240"/>
          <a:lstStyle/>
          <a:p>
            <a:pPr>
              <a:lnSpc>
                <a:spcPct val="80000"/>
              </a:lnSpc>
            </a:pPr>
            <a:r>
              <a:rPr lang="en-US" sz="4000" dirty="0">
                <a:gradFill>
                  <a:gsLst>
                    <a:gs pos="6195">
                      <a:schemeClr val="bg2"/>
                    </a:gs>
                    <a:gs pos="100000">
                      <a:schemeClr val="bg2"/>
                    </a:gs>
                  </a:gsLst>
                  <a:lin ang="5400000" scaled="0"/>
                </a:gradFill>
              </a:rPr>
              <a:t>Monitor and protect </a:t>
            </a:r>
            <a:r>
              <a:rPr lang="en-US" sz="4000" dirty="0" smtClean="0">
                <a:gradFill>
                  <a:gsLst>
                    <a:gs pos="6195">
                      <a:schemeClr val="bg2"/>
                    </a:gs>
                    <a:gs pos="100000">
                      <a:schemeClr val="bg2"/>
                    </a:gs>
                  </a:gsLst>
                  <a:lin ang="5400000" scaled="0"/>
                </a:gradFill>
              </a:rPr>
              <a:t>access to enterprise apps</a:t>
            </a:r>
            <a:endParaRPr lang="en-US" sz="4000" dirty="0">
              <a:gradFill>
                <a:gsLst>
                  <a:gs pos="6195">
                    <a:schemeClr val="bg2"/>
                  </a:gs>
                  <a:gs pos="100000">
                    <a:schemeClr val="bg2"/>
                  </a:gs>
                </a:gsLst>
                <a:lin ang="5400000" scaled="0"/>
              </a:gradFill>
            </a:endParaRPr>
          </a:p>
        </p:txBody>
      </p:sp>
      <p:sp>
        <p:nvSpPr>
          <p:cNvPr id="18" name="Rectangle 17"/>
          <p:cNvSpPr/>
          <p:nvPr/>
        </p:nvSpPr>
        <p:spPr bwMode="auto">
          <a:xfrm>
            <a:off x="0" y="5887453"/>
            <a:ext cx="12436475" cy="11070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9" name="Rectangle 38"/>
          <p:cNvSpPr/>
          <p:nvPr/>
        </p:nvSpPr>
        <p:spPr bwMode="auto">
          <a:xfrm>
            <a:off x="274638" y="5953287"/>
            <a:ext cx="11887200" cy="73485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noAutofit/>
          </a:bodyPr>
          <a:lstStyle/>
          <a:p>
            <a:pPr defTabSz="932290" fontAlgn="base">
              <a:lnSpc>
                <a:spcPct val="90000"/>
              </a:lnSpc>
              <a:spcBef>
                <a:spcPct val="0"/>
              </a:spcBef>
              <a:spcAft>
                <a:spcPct val="0"/>
              </a:spcAft>
            </a:pPr>
            <a:r>
              <a:rPr lang="en-US" sz="2300" spc="-90" dirty="0">
                <a:gradFill>
                  <a:gsLst>
                    <a:gs pos="18367">
                      <a:srgbClr val="FFFFFF"/>
                    </a:gs>
                    <a:gs pos="48000">
                      <a:srgbClr val="FFFFFF"/>
                    </a:gs>
                  </a:gsLst>
                  <a:lin ang="5400000" scaled="0"/>
                </a:gradFill>
              </a:rPr>
              <a:t>Ensure secure access and visibility on usage patterns for SaaS and cloud-hosted LOB </a:t>
            </a:r>
            <a:r>
              <a:rPr lang="en-US" sz="2300" spc="-90" dirty="0" smtClean="0">
                <a:gradFill>
                  <a:gsLst>
                    <a:gs pos="18367">
                      <a:srgbClr val="FFFFFF"/>
                    </a:gs>
                    <a:gs pos="48000">
                      <a:srgbClr val="FFFFFF"/>
                    </a:gs>
                  </a:gsLst>
                  <a:lin ang="5400000" scaled="0"/>
                </a:gradFill>
              </a:rPr>
              <a:t>applications.</a:t>
            </a:r>
            <a:endParaRPr lang="en-US" sz="2300" spc="-90" dirty="0">
              <a:gradFill>
                <a:gsLst>
                  <a:gs pos="18367">
                    <a:srgbClr val="FFFFFF"/>
                  </a:gs>
                  <a:gs pos="48000">
                    <a:srgbClr val="FFFFFF"/>
                  </a:gs>
                </a:gsLst>
                <a:lin ang="5400000" scaled="0"/>
              </a:gradFill>
            </a:endParaRPr>
          </a:p>
        </p:txBody>
      </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7" name="Picture 6"/>
          <p:cNvPicPr>
            <a:picLocks noChangeAspect="1"/>
          </p:cNvPicPr>
          <p:nvPr/>
        </p:nvPicPr>
        <p:blipFill>
          <a:blip r:embed="rId3"/>
          <a:stretch>
            <a:fillRect/>
          </a:stretch>
        </p:blipFill>
        <p:spPr>
          <a:xfrm>
            <a:off x="4149559" y="2437808"/>
            <a:ext cx="5501269" cy="3000692"/>
          </a:xfrm>
          <a:prstGeom prst="rect">
            <a:avLst/>
          </a:prstGeom>
        </p:spPr>
      </p:pic>
      <p:sp>
        <p:nvSpPr>
          <p:cNvPr id="27" name="Oval 26"/>
          <p:cNvSpPr/>
          <p:nvPr/>
        </p:nvSpPr>
        <p:spPr bwMode="auto">
          <a:xfrm>
            <a:off x="5262910" y="3530620"/>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5" name="Oval 54"/>
          <p:cNvSpPr/>
          <p:nvPr/>
        </p:nvSpPr>
        <p:spPr bwMode="auto">
          <a:xfrm>
            <a:off x="7516823" y="3457605"/>
            <a:ext cx="73015" cy="7301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6" name="Oval 55"/>
          <p:cNvSpPr/>
          <p:nvPr/>
        </p:nvSpPr>
        <p:spPr bwMode="auto">
          <a:xfrm>
            <a:off x="8504238" y="4106856"/>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7" name="Oval 56"/>
          <p:cNvSpPr/>
          <p:nvPr/>
        </p:nvSpPr>
        <p:spPr bwMode="auto">
          <a:xfrm>
            <a:off x="7154873" y="4575474"/>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8" name="Oval 57"/>
          <p:cNvSpPr/>
          <p:nvPr/>
        </p:nvSpPr>
        <p:spPr bwMode="auto">
          <a:xfrm>
            <a:off x="8797935" y="3326205"/>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0" name="Oval 59"/>
          <p:cNvSpPr/>
          <p:nvPr/>
        </p:nvSpPr>
        <p:spPr bwMode="auto">
          <a:xfrm>
            <a:off x="9059873" y="4939729"/>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1" name="Oval 60"/>
          <p:cNvSpPr/>
          <p:nvPr/>
        </p:nvSpPr>
        <p:spPr bwMode="auto">
          <a:xfrm>
            <a:off x="5849948" y="4164668"/>
            <a:ext cx="73015" cy="7301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 name="Rectangle 5"/>
          <p:cNvSpPr/>
          <p:nvPr/>
        </p:nvSpPr>
        <p:spPr>
          <a:xfrm>
            <a:off x="281514" y="4556918"/>
            <a:ext cx="4051830" cy="849463"/>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Step up to Multi-Factor authentication.</a:t>
            </a:r>
            <a:endParaRPr lang="en-US" sz="2000" spc="-90" dirty="0">
              <a:gradFill>
                <a:gsLst>
                  <a:gs pos="3670">
                    <a:srgbClr val="505050"/>
                  </a:gs>
                  <a:gs pos="100000">
                    <a:srgbClr val="505050"/>
                  </a:gs>
                </a:gsLst>
                <a:lin ang="5400000" scaled="0"/>
              </a:gradFill>
            </a:endParaRPr>
          </a:p>
        </p:txBody>
      </p:sp>
      <p:sp>
        <p:nvSpPr>
          <p:cNvPr id="59" name="Oval 58"/>
          <p:cNvSpPr/>
          <p:nvPr/>
        </p:nvSpPr>
        <p:spPr bwMode="auto">
          <a:xfrm>
            <a:off x="6045211" y="4838571"/>
            <a:ext cx="73015" cy="7301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2" name="Rectangle 21"/>
          <p:cNvSpPr/>
          <p:nvPr/>
        </p:nvSpPr>
        <p:spPr bwMode="auto">
          <a:xfrm>
            <a:off x="4409642" y="1680844"/>
            <a:ext cx="5617728" cy="4150014"/>
          </a:xfrm>
          <a:prstGeom prst="rect">
            <a:avLst/>
          </a:prstGeom>
          <a:solidFill>
            <a:schemeClr val="tx1">
              <a:alpha val="9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 name="Oval 7"/>
          <p:cNvSpPr/>
          <p:nvPr/>
        </p:nvSpPr>
        <p:spPr bwMode="auto">
          <a:xfrm>
            <a:off x="6011857" y="4807133"/>
            <a:ext cx="139722" cy="13972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4" name="Oval 53"/>
          <p:cNvSpPr/>
          <p:nvPr/>
        </p:nvSpPr>
        <p:spPr bwMode="auto">
          <a:xfrm>
            <a:off x="7483469" y="3424251"/>
            <a:ext cx="139722" cy="13972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0" name="Freeform 9"/>
          <p:cNvSpPr>
            <a:spLocks noEditPoints="1"/>
          </p:cNvSpPr>
          <p:nvPr/>
        </p:nvSpPr>
        <p:spPr bwMode="auto">
          <a:xfrm>
            <a:off x="7497603" y="3437625"/>
            <a:ext cx="111455" cy="112975"/>
          </a:xfrm>
          <a:custGeom>
            <a:avLst/>
            <a:gdLst>
              <a:gd name="T0" fmla="*/ 1185 w 2152"/>
              <a:gd name="T1" fmla="*/ 597 h 2185"/>
              <a:gd name="T2" fmla="*/ 1156 w 2152"/>
              <a:gd name="T3" fmla="*/ 1267 h 2185"/>
              <a:gd name="T4" fmla="*/ 982 w 2152"/>
              <a:gd name="T5" fmla="*/ 1267 h 2185"/>
              <a:gd name="T6" fmla="*/ 968 w 2152"/>
              <a:gd name="T7" fmla="*/ 597 h 2185"/>
              <a:gd name="T8" fmla="*/ 1185 w 2152"/>
              <a:gd name="T9" fmla="*/ 597 h 2185"/>
              <a:gd name="T10" fmla="*/ 1185 w 2152"/>
              <a:gd name="T11" fmla="*/ 597 h 2185"/>
              <a:gd name="T12" fmla="*/ 1199 w 2152"/>
              <a:gd name="T13" fmla="*/ 1486 h 2185"/>
              <a:gd name="T14" fmla="*/ 1170 w 2152"/>
              <a:gd name="T15" fmla="*/ 1558 h 2185"/>
              <a:gd name="T16" fmla="*/ 1083 w 2152"/>
              <a:gd name="T17" fmla="*/ 1588 h 2185"/>
              <a:gd name="T18" fmla="*/ 982 w 2152"/>
              <a:gd name="T19" fmla="*/ 1558 h 2185"/>
              <a:gd name="T20" fmla="*/ 954 w 2152"/>
              <a:gd name="T21" fmla="*/ 1486 h 2185"/>
              <a:gd name="T22" fmla="*/ 982 w 2152"/>
              <a:gd name="T23" fmla="*/ 1398 h 2185"/>
              <a:gd name="T24" fmla="*/ 1083 w 2152"/>
              <a:gd name="T25" fmla="*/ 1369 h 2185"/>
              <a:gd name="T26" fmla="*/ 1170 w 2152"/>
              <a:gd name="T27" fmla="*/ 1398 h 2185"/>
              <a:gd name="T28" fmla="*/ 1199 w 2152"/>
              <a:gd name="T29" fmla="*/ 1486 h 2185"/>
              <a:gd name="T30" fmla="*/ 1069 w 2152"/>
              <a:gd name="T31" fmla="*/ 145 h 2185"/>
              <a:gd name="T32" fmla="*/ 130 w 2152"/>
              <a:gd name="T33" fmla="*/ 1092 h 2185"/>
              <a:gd name="T34" fmla="*/ 1069 w 2152"/>
              <a:gd name="T35" fmla="*/ 2039 h 2185"/>
              <a:gd name="T36" fmla="*/ 2022 w 2152"/>
              <a:gd name="T37" fmla="*/ 1092 h 2185"/>
              <a:gd name="T38" fmla="*/ 1069 w 2152"/>
              <a:gd name="T39" fmla="*/ 145 h 2185"/>
              <a:gd name="T40" fmla="*/ 1069 w 2152"/>
              <a:gd name="T41" fmla="*/ 0 h 2185"/>
              <a:gd name="T42" fmla="*/ 2152 w 2152"/>
              <a:gd name="T43" fmla="*/ 1092 h 2185"/>
              <a:gd name="T44" fmla="*/ 1069 w 2152"/>
              <a:gd name="T45" fmla="*/ 2185 h 2185"/>
              <a:gd name="T46" fmla="*/ 0 w 2152"/>
              <a:gd name="T47" fmla="*/ 1092 h 2185"/>
              <a:gd name="T48" fmla="*/ 1069 w 2152"/>
              <a:gd name="T49" fmla="*/ 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52" h="2185">
                <a:moveTo>
                  <a:pt x="1185" y="597"/>
                </a:moveTo>
                <a:cubicBezTo>
                  <a:pt x="1156" y="1267"/>
                  <a:pt x="1156" y="1267"/>
                  <a:pt x="1156" y="1267"/>
                </a:cubicBezTo>
                <a:cubicBezTo>
                  <a:pt x="982" y="1267"/>
                  <a:pt x="982" y="1267"/>
                  <a:pt x="982" y="1267"/>
                </a:cubicBezTo>
                <a:cubicBezTo>
                  <a:pt x="968" y="597"/>
                  <a:pt x="968" y="597"/>
                  <a:pt x="968" y="597"/>
                </a:cubicBezTo>
                <a:cubicBezTo>
                  <a:pt x="1185" y="597"/>
                  <a:pt x="1185" y="597"/>
                  <a:pt x="1185" y="597"/>
                </a:cubicBezTo>
                <a:cubicBezTo>
                  <a:pt x="1185" y="597"/>
                  <a:pt x="1185" y="597"/>
                  <a:pt x="1185" y="597"/>
                </a:cubicBezTo>
                <a:close/>
                <a:moveTo>
                  <a:pt x="1199" y="1486"/>
                </a:moveTo>
                <a:cubicBezTo>
                  <a:pt x="1199" y="1515"/>
                  <a:pt x="1185" y="1544"/>
                  <a:pt x="1170" y="1558"/>
                </a:cubicBezTo>
                <a:cubicBezTo>
                  <a:pt x="1141" y="1588"/>
                  <a:pt x="1112" y="1588"/>
                  <a:pt x="1083" y="1588"/>
                </a:cubicBezTo>
                <a:cubicBezTo>
                  <a:pt x="1040" y="1588"/>
                  <a:pt x="1011" y="1588"/>
                  <a:pt x="982" y="1558"/>
                </a:cubicBezTo>
                <a:cubicBezTo>
                  <a:pt x="968" y="1529"/>
                  <a:pt x="954" y="1515"/>
                  <a:pt x="954" y="1486"/>
                </a:cubicBezTo>
                <a:cubicBezTo>
                  <a:pt x="954" y="1442"/>
                  <a:pt x="968" y="1413"/>
                  <a:pt x="982" y="1398"/>
                </a:cubicBezTo>
                <a:cubicBezTo>
                  <a:pt x="1011" y="1369"/>
                  <a:pt x="1040" y="1369"/>
                  <a:pt x="1083" y="1369"/>
                </a:cubicBezTo>
                <a:cubicBezTo>
                  <a:pt x="1112" y="1369"/>
                  <a:pt x="1141" y="1369"/>
                  <a:pt x="1170" y="1398"/>
                </a:cubicBezTo>
                <a:cubicBezTo>
                  <a:pt x="1185" y="1413"/>
                  <a:pt x="1199" y="1442"/>
                  <a:pt x="1199" y="1486"/>
                </a:cubicBezTo>
                <a:moveTo>
                  <a:pt x="1069" y="145"/>
                </a:moveTo>
                <a:cubicBezTo>
                  <a:pt x="549" y="145"/>
                  <a:pt x="130" y="568"/>
                  <a:pt x="130" y="1092"/>
                </a:cubicBezTo>
                <a:cubicBezTo>
                  <a:pt x="130" y="1617"/>
                  <a:pt x="549" y="2039"/>
                  <a:pt x="1069" y="2039"/>
                </a:cubicBezTo>
                <a:cubicBezTo>
                  <a:pt x="1603" y="2039"/>
                  <a:pt x="2022" y="1617"/>
                  <a:pt x="2022" y="1092"/>
                </a:cubicBezTo>
                <a:cubicBezTo>
                  <a:pt x="2022" y="568"/>
                  <a:pt x="1603" y="145"/>
                  <a:pt x="1069" y="145"/>
                </a:cubicBezTo>
                <a:moveTo>
                  <a:pt x="1069" y="0"/>
                </a:moveTo>
                <a:cubicBezTo>
                  <a:pt x="1675" y="0"/>
                  <a:pt x="2152" y="495"/>
                  <a:pt x="2152" y="1092"/>
                </a:cubicBezTo>
                <a:cubicBezTo>
                  <a:pt x="2152" y="1690"/>
                  <a:pt x="1675" y="2185"/>
                  <a:pt x="1069" y="2185"/>
                </a:cubicBezTo>
                <a:cubicBezTo>
                  <a:pt x="477" y="2185"/>
                  <a:pt x="0" y="1690"/>
                  <a:pt x="0" y="1092"/>
                </a:cubicBezTo>
                <a:cubicBezTo>
                  <a:pt x="0" y="495"/>
                  <a:pt x="477" y="0"/>
                  <a:pt x="1069" y="0"/>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5" name="Freeform 9"/>
          <p:cNvSpPr>
            <a:spLocks noEditPoints="1"/>
          </p:cNvSpPr>
          <p:nvPr/>
        </p:nvSpPr>
        <p:spPr bwMode="auto">
          <a:xfrm>
            <a:off x="6025991" y="4820507"/>
            <a:ext cx="111455" cy="112975"/>
          </a:xfrm>
          <a:custGeom>
            <a:avLst/>
            <a:gdLst>
              <a:gd name="T0" fmla="*/ 1185 w 2152"/>
              <a:gd name="T1" fmla="*/ 597 h 2185"/>
              <a:gd name="T2" fmla="*/ 1156 w 2152"/>
              <a:gd name="T3" fmla="*/ 1267 h 2185"/>
              <a:gd name="T4" fmla="*/ 982 w 2152"/>
              <a:gd name="T5" fmla="*/ 1267 h 2185"/>
              <a:gd name="T6" fmla="*/ 968 w 2152"/>
              <a:gd name="T7" fmla="*/ 597 h 2185"/>
              <a:gd name="T8" fmla="*/ 1185 w 2152"/>
              <a:gd name="T9" fmla="*/ 597 h 2185"/>
              <a:gd name="T10" fmla="*/ 1185 w 2152"/>
              <a:gd name="T11" fmla="*/ 597 h 2185"/>
              <a:gd name="T12" fmla="*/ 1199 w 2152"/>
              <a:gd name="T13" fmla="*/ 1486 h 2185"/>
              <a:gd name="T14" fmla="*/ 1170 w 2152"/>
              <a:gd name="T15" fmla="*/ 1558 h 2185"/>
              <a:gd name="T16" fmla="*/ 1083 w 2152"/>
              <a:gd name="T17" fmla="*/ 1588 h 2185"/>
              <a:gd name="T18" fmla="*/ 982 w 2152"/>
              <a:gd name="T19" fmla="*/ 1558 h 2185"/>
              <a:gd name="T20" fmla="*/ 954 w 2152"/>
              <a:gd name="T21" fmla="*/ 1486 h 2185"/>
              <a:gd name="T22" fmla="*/ 982 w 2152"/>
              <a:gd name="T23" fmla="*/ 1398 h 2185"/>
              <a:gd name="T24" fmla="*/ 1083 w 2152"/>
              <a:gd name="T25" fmla="*/ 1369 h 2185"/>
              <a:gd name="T26" fmla="*/ 1170 w 2152"/>
              <a:gd name="T27" fmla="*/ 1398 h 2185"/>
              <a:gd name="T28" fmla="*/ 1199 w 2152"/>
              <a:gd name="T29" fmla="*/ 1486 h 2185"/>
              <a:gd name="T30" fmla="*/ 1069 w 2152"/>
              <a:gd name="T31" fmla="*/ 145 h 2185"/>
              <a:gd name="T32" fmla="*/ 130 w 2152"/>
              <a:gd name="T33" fmla="*/ 1092 h 2185"/>
              <a:gd name="T34" fmla="*/ 1069 w 2152"/>
              <a:gd name="T35" fmla="*/ 2039 h 2185"/>
              <a:gd name="T36" fmla="*/ 2022 w 2152"/>
              <a:gd name="T37" fmla="*/ 1092 h 2185"/>
              <a:gd name="T38" fmla="*/ 1069 w 2152"/>
              <a:gd name="T39" fmla="*/ 145 h 2185"/>
              <a:gd name="T40" fmla="*/ 1069 w 2152"/>
              <a:gd name="T41" fmla="*/ 0 h 2185"/>
              <a:gd name="T42" fmla="*/ 2152 w 2152"/>
              <a:gd name="T43" fmla="*/ 1092 h 2185"/>
              <a:gd name="T44" fmla="*/ 1069 w 2152"/>
              <a:gd name="T45" fmla="*/ 2185 h 2185"/>
              <a:gd name="T46" fmla="*/ 0 w 2152"/>
              <a:gd name="T47" fmla="*/ 1092 h 2185"/>
              <a:gd name="T48" fmla="*/ 1069 w 2152"/>
              <a:gd name="T49" fmla="*/ 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52" h="2185">
                <a:moveTo>
                  <a:pt x="1185" y="597"/>
                </a:moveTo>
                <a:cubicBezTo>
                  <a:pt x="1156" y="1267"/>
                  <a:pt x="1156" y="1267"/>
                  <a:pt x="1156" y="1267"/>
                </a:cubicBezTo>
                <a:cubicBezTo>
                  <a:pt x="982" y="1267"/>
                  <a:pt x="982" y="1267"/>
                  <a:pt x="982" y="1267"/>
                </a:cubicBezTo>
                <a:cubicBezTo>
                  <a:pt x="968" y="597"/>
                  <a:pt x="968" y="597"/>
                  <a:pt x="968" y="597"/>
                </a:cubicBezTo>
                <a:cubicBezTo>
                  <a:pt x="1185" y="597"/>
                  <a:pt x="1185" y="597"/>
                  <a:pt x="1185" y="597"/>
                </a:cubicBezTo>
                <a:cubicBezTo>
                  <a:pt x="1185" y="597"/>
                  <a:pt x="1185" y="597"/>
                  <a:pt x="1185" y="597"/>
                </a:cubicBezTo>
                <a:close/>
                <a:moveTo>
                  <a:pt x="1199" y="1486"/>
                </a:moveTo>
                <a:cubicBezTo>
                  <a:pt x="1199" y="1515"/>
                  <a:pt x="1185" y="1544"/>
                  <a:pt x="1170" y="1558"/>
                </a:cubicBezTo>
                <a:cubicBezTo>
                  <a:pt x="1141" y="1588"/>
                  <a:pt x="1112" y="1588"/>
                  <a:pt x="1083" y="1588"/>
                </a:cubicBezTo>
                <a:cubicBezTo>
                  <a:pt x="1040" y="1588"/>
                  <a:pt x="1011" y="1588"/>
                  <a:pt x="982" y="1558"/>
                </a:cubicBezTo>
                <a:cubicBezTo>
                  <a:pt x="968" y="1529"/>
                  <a:pt x="954" y="1515"/>
                  <a:pt x="954" y="1486"/>
                </a:cubicBezTo>
                <a:cubicBezTo>
                  <a:pt x="954" y="1442"/>
                  <a:pt x="968" y="1413"/>
                  <a:pt x="982" y="1398"/>
                </a:cubicBezTo>
                <a:cubicBezTo>
                  <a:pt x="1011" y="1369"/>
                  <a:pt x="1040" y="1369"/>
                  <a:pt x="1083" y="1369"/>
                </a:cubicBezTo>
                <a:cubicBezTo>
                  <a:pt x="1112" y="1369"/>
                  <a:pt x="1141" y="1369"/>
                  <a:pt x="1170" y="1398"/>
                </a:cubicBezTo>
                <a:cubicBezTo>
                  <a:pt x="1185" y="1413"/>
                  <a:pt x="1199" y="1442"/>
                  <a:pt x="1199" y="1486"/>
                </a:cubicBezTo>
                <a:moveTo>
                  <a:pt x="1069" y="145"/>
                </a:moveTo>
                <a:cubicBezTo>
                  <a:pt x="549" y="145"/>
                  <a:pt x="130" y="568"/>
                  <a:pt x="130" y="1092"/>
                </a:cubicBezTo>
                <a:cubicBezTo>
                  <a:pt x="130" y="1617"/>
                  <a:pt x="549" y="2039"/>
                  <a:pt x="1069" y="2039"/>
                </a:cubicBezTo>
                <a:cubicBezTo>
                  <a:pt x="1603" y="2039"/>
                  <a:pt x="2022" y="1617"/>
                  <a:pt x="2022" y="1092"/>
                </a:cubicBezTo>
                <a:cubicBezTo>
                  <a:pt x="2022" y="568"/>
                  <a:pt x="1603" y="145"/>
                  <a:pt x="1069" y="145"/>
                </a:cubicBezTo>
                <a:moveTo>
                  <a:pt x="1069" y="0"/>
                </a:moveTo>
                <a:cubicBezTo>
                  <a:pt x="1675" y="0"/>
                  <a:pt x="2152" y="495"/>
                  <a:pt x="2152" y="1092"/>
                </a:cubicBezTo>
                <a:cubicBezTo>
                  <a:pt x="2152" y="1690"/>
                  <a:pt x="1675" y="2185"/>
                  <a:pt x="1069" y="2185"/>
                </a:cubicBezTo>
                <a:cubicBezTo>
                  <a:pt x="477" y="2185"/>
                  <a:pt x="0" y="1690"/>
                  <a:pt x="0" y="1092"/>
                </a:cubicBezTo>
                <a:cubicBezTo>
                  <a:pt x="0" y="495"/>
                  <a:pt x="477" y="0"/>
                  <a:pt x="1069" y="0"/>
                </a:cubicBez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1" name="Freeform 20"/>
          <p:cNvSpPr/>
          <p:nvPr/>
        </p:nvSpPr>
        <p:spPr bwMode="auto">
          <a:xfrm>
            <a:off x="7670894" y="3001991"/>
            <a:ext cx="1616894" cy="451823"/>
          </a:xfrm>
          <a:custGeom>
            <a:avLst/>
            <a:gdLst>
              <a:gd name="connsiteX0" fmla="*/ 0 w 2197100"/>
              <a:gd name="connsiteY0" fmla="*/ 609600 h 609600"/>
              <a:gd name="connsiteX1" fmla="*/ 2197100 w 2197100"/>
              <a:gd name="connsiteY1" fmla="*/ 0 h 609600"/>
            </a:gdLst>
            <a:ahLst/>
            <a:cxnLst>
              <a:cxn ang="0">
                <a:pos x="connsiteX0" y="connsiteY0"/>
              </a:cxn>
              <a:cxn ang="0">
                <a:pos x="connsiteX1" y="connsiteY1"/>
              </a:cxn>
            </a:cxnLst>
            <a:rect l="l" t="t" r="r" b="b"/>
            <a:pathLst>
              <a:path w="2197100" h="609600">
                <a:moveTo>
                  <a:pt x="0" y="609600"/>
                </a:moveTo>
                <a:lnTo>
                  <a:pt x="2197100"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66" name="Freeform 65"/>
          <p:cNvSpPr/>
          <p:nvPr/>
        </p:nvSpPr>
        <p:spPr bwMode="auto">
          <a:xfrm>
            <a:off x="6218238" y="4801470"/>
            <a:ext cx="3069550" cy="79899"/>
          </a:xfrm>
          <a:custGeom>
            <a:avLst/>
            <a:gdLst>
              <a:gd name="connsiteX0" fmla="*/ 0 w 2197100"/>
              <a:gd name="connsiteY0" fmla="*/ 609600 h 609600"/>
              <a:gd name="connsiteX1" fmla="*/ 2197100 w 2197100"/>
              <a:gd name="connsiteY1" fmla="*/ 0 h 609600"/>
            </a:gdLst>
            <a:ahLst/>
            <a:cxnLst>
              <a:cxn ang="0">
                <a:pos x="connsiteX0" y="connsiteY0"/>
              </a:cxn>
              <a:cxn ang="0">
                <a:pos x="connsiteX1" y="connsiteY1"/>
              </a:cxn>
            </a:cxnLst>
            <a:rect l="l" t="t" r="r" b="b"/>
            <a:pathLst>
              <a:path w="2197100" h="609600">
                <a:moveTo>
                  <a:pt x="0" y="609600"/>
                </a:moveTo>
                <a:lnTo>
                  <a:pt x="2197100" y="0"/>
                </a:lnTo>
              </a:path>
            </a:pathLst>
          </a:custGeom>
          <a:noFill/>
          <a:ln w="38100" cap="rnd">
            <a:solidFill>
              <a:schemeClr val="accent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useBgFill="1">
        <p:nvSpPr>
          <p:cNvPr id="62" name="Rectangle 61"/>
          <p:cNvSpPr/>
          <p:nvPr/>
        </p:nvSpPr>
        <p:spPr bwMode="auto">
          <a:xfrm>
            <a:off x="12161838" y="1504950"/>
            <a:ext cx="268190" cy="54006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 name="Freeform 5"/>
          <p:cNvSpPr>
            <a:spLocks noEditPoints="1"/>
          </p:cNvSpPr>
          <p:nvPr/>
        </p:nvSpPr>
        <p:spPr bwMode="auto">
          <a:xfrm>
            <a:off x="9015992" y="1996683"/>
            <a:ext cx="2985608" cy="1601655"/>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23" name="Freeform 9"/>
          <p:cNvSpPr>
            <a:spLocks noEditPoints="1"/>
          </p:cNvSpPr>
          <p:nvPr/>
        </p:nvSpPr>
        <p:spPr bwMode="auto">
          <a:xfrm>
            <a:off x="9436808" y="4021732"/>
            <a:ext cx="2143977" cy="1601420"/>
          </a:xfrm>
          <a:custGeom>
            <a:avLst/>
            <a:gdLst>
              <a:gd name="T0" fmla="*/ 1684 w 1740"/>
              <a:gd name="T1" fmla="*/ 0 h 1299"/>
              <a:gd name="T2" fmla="*/ 57 w 1740"/>
              <a:gd name="T3" fmla="*/ 0 h 1299"/>
              <a:gd name="T4" fmla="*/ 0 w 1740"/>
              <a:gd name="T5" fmla="*/ 56 h 1299"/>
              <a:gd name="T6" fmla="*/ 0 w 1740"/>
              <a:gd name="T7" fmla="*/ 1242 h 1299"/>
              <a:gd name="T8" fmla="*/ 57 w 1740"/>
              <a:gd name="T9" fmla="*/ 1299 h 1299"/>
              <a:gd name="T10" fmla="*/ 1684 w 1740"/>
              <a:gd name="T11" fmla="*/ 1299 h 1299"/>
              <a:gd name="T12" fmla="*/ 1740 w 1740"/>
              <a:gd name="T13" fmla="*/ 1242 h 1299"/>
              <a:gd name="T14" fmla="*/ 1740 w 1740"/>
              <a:gd name="T15" fmla="*/ 56 h 1299"/>
              <a:gd name="T16" fmla="*/ 1684 w 1740"/>
              <a:gd name="T17" fmla="*/ 0 h 1299"/>
              <a:gd name="T18" fmla="*/ 862 w 1740"/>
              <a:gd name="T19" fmla="*/ 1250 h 1299"/>
              <a:gd name="T20" fmla="*/ 830 w 1740"/>
              <a:gd name="T21" fmla="*/ 1242 h 1299"/>
              <a:gd name="T22" fmla="*/ 830 w 1740"/>
              <a:gd name="T23" fmla="*/ 1217 h 1299"/>
              <a:gd name="T24" fmla="*/ 862 w 1740"/>
              <a:gd name="T25" fmla="*/ 1217 h 1299"/>
              <a:gd name="T26" fmla="*/ 862 w 1740"/>
              <a:gd name="T27" fmla="*/ 1250 h 1299"/>
              <a:gd name="T28" fmla="*/ 862 w 1740"/>
              <a:gd name="T29" fmla="*/ 1250 h 1299"/>
              <a:gd name="T30" fmla="*/ 862 w 1740"/>
              <a:gd name="T31" fmla="*/ 1209 h 1299"/>
              <a:gd name="T32" fmla="*/ 830 w 1740"/>
              <a:gd name="T33" fmla="*/ 1209 h 1299"/>
              <a:gd name="T34" fmla="*/ 830 w 1740"/>
              <a:gd name="T35" fmla="*/ 1185 h 1299"/>
              <a:gd name="T36" fmla="*/ 862 w 1740"/>
              <a:gd name="T37" fmla="*/ 1177 h 1299"/>
              <a:gd name="T38" fmla="*/ 862 w 1740"/>
              <a:gd name="T39" fmla="*/ 1209 h 1299"/>
              <a:gd name="T40" fmla="*/ 862 w 1740"/>
              <a:gd name="T41" fmla="*/ 1209 h 1299"/>
              <a:gd name="T42" fmla="*/ 918 w 1740"/>
              <a:gd name="T43" fmla="*/ 1258 h 1299"/>
              <a:gd name="T44" fmla="*/ 870 w 1740"/>
              <a:gd name="T45" fmla="*/ 1250 h 1299"/>
              <a:gd name="T46" fmla="*/ 870 w 1740"/>
              <a:gd name="T47" fmla="*/ 1217 h 1299"/>
              <a:gd name="T48" fmla="*/ 918 w 1740"/>
              <a:gd name="T49" fmla="*/ 1217 h 1299"/>
              <a:gd name="T50" fmla="*/ 918 w 1740"/>
              <a:gd name="T51" fmla="*/ 1258 h 1299"/>
              <a:gd name="T52" fmla="*/ 918 w 1740"/>
              <a:gd name="T53" fmla="*/ 1258 h 1299"/>
              <a:gd name="T54" fmla="*/ 918 w 1740"/>
              <a:gd name="T55" fmla="*/ 1209 h 1299"/>
              <a:gd name="T56" fmla="*/ 870 w 1740"/>
              <a:gd name="T57" fmla="*/ 1209 h 1299"/>
              <a:gd name="T58" fmla="*/ 870 w 1740"/>
              <a:gd name="T59" fmla="*/ 1177 h 1299"/>
              <a:gd name="T60" fmla="*/ 918 w 1740"/>
              <a:gd name="T61" fmla="*/ 1169 h 1299"/>
              <a:gd name="T62" fmla="*/ 918 w 1740"/>
              <a:gd name="T63" fmla="*/ 1209 h 1299"/>
              <a:gd name="T64" fmla="*/ 918 w 1740"/>
              <a:gd name="T65" fmla="*/ 1209 h 1299"/>
              <a:gd name="T66" fmla="*/ 1643 w 1740"/>
              <a:gd name="T67" fmla="*/ 1088 h 1299"/>
              <a:gd name="T68" fmla="*/ 1595 w 1740"/>
              <a:gd name="T69" fmla="*/ 1136 h 1299"/>
              <a:gd name="T70" fmla="*/ 153 w 1740"/>
              <a:gd name="T71" fmla="*/ 1136 h 1299"/>
              <a:gd name="T72" fmla="*/ 97 w 1740"/>
              <a:gd name="T73" fmla="*/ 1088 h 1299"/>
              <a:gd name="T74" fmla="*/ 97 w 1740"/>
              <a:gd name="T75" fmla="*/ 154 h 1299"/>
              <a:gd name="T76" fmla="*/ 153 w 1740"/>
              <a:gd name="T77" fmla="*/ 97 h 1299"/>
              <a:gd name="T78" fmla="*/ 1595 w 1740"/>
              <a:gd name="T79" fmla="*/ 97 h 1299"/>
              <a:gd name="T80" fmla="*/ 1643 w 1740"/>
              <a:gd name="T81" fmla="*/ 154 h 1299"/>
              <a:gd name="T82" fmla="*/ 1643 w 1740"/>
              <a:gd name="T83" fmla="*/ 1088 h 1299"/>
              <a:gd name="T84" fmla="*/ 1643 w 1740"/>
              <a:gd name="T85" fmla="*/ 108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40" h="1299">
                <a:moveTo>
                  <a:pt x="1684" y="0"/>
                </a:moveTo>
                <a:cubicBezTo>
                  <a:pt x="57" y="0"/>
                  <a:pt x="57" y="0"/>
                  <a:pt x="57" y="0"/>
                </a:cubicBezTo>
                <a:cubicBezTo>
                  <a:pt x="24" y="0"/>
                  <a:pt x="0" y="32"/>
                  <a:pt x="0" y="56"/>
                </a:cubicBezTo>
                <a:cubicBezTo>
                  <a:pt x="0" y="1177"/>
                  <a:pt x="0" y="1242"/>
                  <a:pt x="0" y="1242"/>
                </a:cubicBezTo>
                <a:cubicBezTo>
                  <a:pt x="0" y="1274"/>
                  <a:pt x="24" y="1299"/>
                  <a:pt x="57" y="1299"/>
                </a:cubicBezTo>
                <a:cubicBezTo>
                  <a:pt x="1684" y="1299"/>
                  <a:pt x="1684" y="1299"/>
                  <a:pt x="1684" y="1299"/>
                </a:cubicBezTo>
                <a:cubicBezTo>
                  <a:pt x="1716" y="1299"/>
                  <a:pt x="1740" y="1274"/>
                  <a:pt x="1740" y="1242"/>
                </a:cubicBezTo>
                <a:cubicBezTo>
                  <a:pt x="1740" y="121"/>
                  <a:pt x="1740" y="56"/>
                  <a:pt x="1740" y="56"/>
                </a:cubicBezTo>
                <a:cubicBezTo>
                  <a:pt x="1740" y="32"/>
                  <a:pt x="1716" y="0"/>
                  <a:pt x="1684" y="0"/>
                </a:cubicBezTo>
                <a:close/>
                <a:moveTo>
                  <a:pt x="862" y="1250"/>
                </a:moveTo>
                <a:cubicBezTo>
                  <a:pt x="830" y="1242"/>
                  <a:pt x="830" y="1242"/>
                  <a:pt x="830" y="1242"/>
                </a:cubicBezTo>
                <a:cubicBezTo>
                  <a:pt x="830" y="1217"/>
                  <a:pt x="830" y="1217"/>
                  <a:pt x="830" y="1217"/>
                </a:cubicBezTo>
                <a:cubicBezTo>
                  <a:pt x="862" y="1217"/>
                  <a:pt x="862" y="1217"/>
                  <a:pt x="862" y="1217"/>
                </a:cubicBezTo>
                <a:cubicBezTo>
                  <a:pt x="862" y="1250"/>
                  <a:pt x="862" y="1250"/>
                  <a:pt x="862" y="1250"/>
                </a:cubicBezTo>
                <a:cubicBezTo>
                  <a:pt x="862" y="1250"/>
                  <a:pt x="862" y="1250"/>
                  <a:pt x="862" y="1250"/>
                </a:cubicBezTo>
                <a:close/>
                <a:moveTo>
                  <a:pt x="862" y="1209"/>
                </a:moveTo>
                <a:cubicBezTo>
                  <a:pt x="830" y="1209"/>
                  <a:pt x="830" y="1209"/>
                  <a:pt x="830" y="1209"/>
                </a:cubicBezTo>
                <a:cubicBezTo>
                  <a:pt x="830" y="1185"/>
                  <a:pt x="830" y="1185"/>
                  <a:pt x="830" y="1185"/>
                </a:cubicBezTo>
                <a:cubicBezTo>
                  <a:pt x="862" y="1177"/>
                  <a:pt x="862" y="1177"/>
                  <a:pt x="862" y="1177"/>
                </a:cubicBezTo>
                <a:cubicBezTo>
                  <a:pt x="862" y="1209"/>
                  <a:pt x="862" y="1209"/>
                  <a:pt x="862" y="1209"/>
                </a:cubicBezTo>
                <a:cubicBezTo>
                  <a:pt x="862" y="1209"/>
                  <a:pt x="862" y="1209"/>
                  <a:pt x="862" y="1209"/>
                </a:cubicBezTo>
                <a:close/>
                <a:moveTo>
                  <a:pt x="918" y="1258"/>
                </a:moveTo>
                <a:cubicBezTo>
                  <a:pt x="870" y="1250"/>
                  <a:pt x="870" y="1250"/>
                  <a:pt x="870" y="1250"/>
                </a:cubicBezTo>
                <a:cubicBezTo>
                  <a:pt x="870" y="1217"/>
                  <a:pt x="870" y="1217"/>
                  <a:pt x="870" y="1217"/>
                </a:cubicBezTo>
                <a:cubicBezTo>
                  <a:pt x="918" y="1217"/>
                  <a:pt x="918" y="1217"/>
                  <a:pt x="918" y="1217"/>
                </a:cubicBezTo>
                <a:cubicBezTo>
                  <a:pt x="918" y="1258"/>
                  <a:pt x="918" y="1258"/>
                  <a:pt x="918" y="1258"/>
                </a:cubicBezTo>
                <a:cubicBezTo>
                  <a:pt x="918" y="1258"/>
                  <a:pt x="918" y="1258"/>
                  <a:pt x="918" y="1258"/>
                </a:cubicBezTo>
                <a:close/>
                <a:moveTo>
                  <a:pt x="918" y="1209"/>
                </a:moveTo>
                <a:cubicBezTo>
                  <a:pt x="870" y="1209"/>
                  <a:pt x="870" y="1209"/>
                  <a:pt x="870" y="1209"/>
                </a:cubicBezTo>
                <a:cubicBezTo>
                  <a:pt x="870" y="1177"/>
                  <a:pt x="870" y="1177"/>
                  <a:pt x="870" y="1177"/>
                </a:cubicBezTo>
                <a:cubicBezTo>
                  <a:pt x="918" y="1169"/>
                  <a:pt x="918" y="1169"/>
                  <a:pt x="918" y="1169"/>
                </a:cubicBezTo>
                <a:cubicBezTo>
                  <a:pt x="918" y="1209"/>
                  <a:pt x="918" y="1209"/>
                  <a:pt x="918" y="1209"/>
                </a:cubicBezTo>
                <a:cubicBezTo>
                  <a:pt x="918" y="1209"/>
                  <a:pt x="918" y="1209"/>
                  <a:pt x="918" y="1209"/>
                </a:cubicBezTo>
                <a:close/>
                <a:moveTo>
                  <a:pt x="1643" y="1088"/>
                </a:moveTo>
                <a:cubicBezTo>
                  <a:pt x="1643" y="1112"/>
                  <a:pt x="1619" y="1136"/>
                  <a:pt x="1595" y="1136"/>
                </a:cubicBezTo>
                <a:cubicBezTo>
                  <a:pt x="153" y="1136"/>
                  <a:pt x="153" y="1136"/>
                  <a:pt x="153" y="1136"/>
                </a:cubicBezTo>
                <a:cubicBezTo>
                  <a:pt x="129" y="1136"/>
                  <a:pt x="97" y="1112"/>
                  <a:pt x="97" y="1088"/>
                </a:cubicBezTo>
                <a:cubicBezTo>
                  <a:pt x="97" y="154"/>
                  <a:pt x="97" y="154"/>
                  <a:pt x="97" y="154"/>
                </a:cubicBezTo>
                <a:cubicBezTo>
                  <a:pt x="97" y="121"/>
                  <a:pt x="129" y="97"/>
                  <a:pt x="153" y="97"/>
                </a:cubicBezTo>
                <a:cubicBezTo>
                  <a:pt x="1595" y="97"/>
                  <a:pt x="1595" y="97"/>
                  <a:pt x="1595" y="97"/>
                </a:cubicBezTo>
                <a:cubicBezTo>
                  <a:pt x="1619" y="97"/>
                  <a:pt x="1643" y="121"/>
                  <a:pt x="1643" y="154"/>
                </a:cubicBezTo>
                <a:cubicBezTo>
                  <a:pt x="1643" y="1088"/>
                  <a:pt x="1643" y="1088"/>
                  <a:pt x="1643" y="1088"/>
                </a:cubicBezTo>
                <a:cubicBezTo>
                  <a:pt x="1643" y="1088"/>
                  <a:pt x="1643" y="1088"/>
                  <a:pt x="1643" y="108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33" name="Group 32"/>
          <p:cNvGrpSpPr/>
          <p:nvPr/>
        </p:nvGrpSpPr>
        <p:grpSpPr>
          <a:xfrm>
            <a:off x="9689722" y="2412407"/>
            <a:ext cx="1628758" cy="652262"/>
            <a:chOff x="9689722" y="2412407"/>
            <a:chExt cx="1628758" cy="652262"/>
          </a:xfrm>
        </p:grpSpPr>
        <p:sp>
          <p:nvSpPr>
            <p:cNvPr id="19" name="Freeform 7"/>
            <p:cNvSpPr>
              <a:spLocks/>
            </p:cNvSpPr>
            <p:nvPr/>
          </p:nvSpPr>
          <p:spPr bwMode="auto">
            <a:xfrm>
              <a:off x="9689722" y="24124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5" name="Group 24"/>
            <p:cNvGrpSpPr/>
            <p:nvPr/>
          </p:nvGrpSpPr>
          <p:grpSpPr>
            <a:xfrm>
              <a:off x="10379497" y="2705072"/>
              <a:ext cx="938983" cy="288115"/>
              <a:chOff x="10308455" y="2774544"/>
              <a:chExt cx="1138237" cy="288115"/>
            </a:xfrm>
          </p:grpSpPr>
          <p:sp>
            <p:nvSpPr>
              <p:cNvPr id="24" name="Rectangle 23"/>
              <p:cNvSpPr/>
              <p:nvPr/>
            </p:nvSpPr>
            <p:spPr bwMode="auto">
              <a:xfrm>
                <a:off x="10308455" y="2774544"/>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3" name="Rectangle 62"/>
              <p:cNvSpPr/>
              <p:nvPr/>
            </p:nvSpPr>
            <p:spPr bwMode="auto">
              <a:xfrm>
                <a:off x="10308455" y="2888660"/>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4" name="Rectangle 63"/>
              <p:cNvSpPr/>
              <p:nvPr/>
            </p:nvSpPr>
            <p:spPr bwMode="auto">
              <a:xfrm>
                <a:off x="10308455" y="3002776"/>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26" name="Rectangle 25"/>
            <p:cNvSpPr/>
            <p:nvPr/>
          </p:nvSpPr>
          <p:spPr bwMode="auto">
            <a:xfrm>
              <a:off x="10379498" y="2483890"/>
              <a:ext cx="935598" cy="101474"/>
            </a:xfrm>
            <a:prstGeom prst="rect">
              <a:avLst/>
            </a:prstGeom>
            <a:noFill/>
            <a:ln>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28" name="TextBox 27"/>
          <p:cNvSpPr txBox="1"/>
          <p:nvPr/>
        </p:nvSpPr>
        <p:spPr>
          <a:xfrm>
            <a:off x="10426053" y="2497839"/>
            <a:ext cx="863891" cy="83100"/>
          </a:xfrm>
          <a:prstGeom prst="rect">
            <a:avLst/>
          </a:prstGeom>
          <a:noFill/>
        </p:spPr>
        <p:txBody>
          <a:bodyPr wrap="square" lIns="0" tIns="0" rIns="0" bIns="0" rtlCol="0">
            <a:spAutoFit/>
          </a:bodyPr>
          <a:lstStyle/>
          <a:p>
            <a:pPr defTabSz="932503">
              <a:lnSpc>
                <a:spcPct val="90000"/>
              </a:lnSpc>
            </a:pPr>
            <a:r>
              <a:rPr lang="en-US" sz="600" b="1" spc="300" dirty="0" smtClean="0">
                <a:gradFill>
                  <a:gsLst>
                    <a:gs pos="2917">
                      <a:srgbClr val="505050"/>
                    </a:gs>
                    <a:gs pos="30000">
                      <a:srgbClr val="505050"/>
                    </a:gs>
                  </a:gsLst>
                  <a:lin ang="5400000" scaled="0"/>
                </a:gradFill>
              </a:rPr>
              <a:t>XXXXX</a:t>
            </a:r>
          </a:p>
        </p:txBody>
      </p:sp>
      <p:grpSp>
        <p:nvGrpSpPr>
          <p:cNvPr id="32" name="Group 31"/>
          <p:cNvGrpSpPr/>
          <p:nvPr/>
        </p:nvGrpSpPr>
        <p:grpSpPr>
          <a:xfrm>
            <a:off x="9713071" y="4433007"/>
            <a:ext cx="1628758" cy="652262"/>
            <a:chOff x="9713071" y="4433007"/>
            <a:chExt cx="1628758" cy="652262"/>
          </a:xfrm>
        </p:grpSpPr>
        <p:sp>
          <p:nvSpPr>
            <p:cNvPr id="69"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71" name="Group 70"/>
            <p:cNvGrpSpPr/>
            <p:nvPr/>
          </p:nvGrpSpPr>
          <p:grpSpPr>
            <a:xfrm>
              <a:off x="10402846" y="4725672"/>
              <a:ext cx="938983" cy="288115"/>
              <a:chOff x="10308455" y="2774544"/>
              <a:chExt cx="1138237" cy="288115"/>
            </a:xfrm>
          </p:grpSpPr>
          <p:sp>
            <p:nvSpPr>
              <p:cNvPr id="74" name="Rectangle 73"/>
              <p:cNvSpPr/>
              <p:nvPr/>
            </p:nvSpPr>
            <p:spPr bwMode="auto">
              <a:xfrm>
                <a:off x="10308455" y="2774544"/>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5" name="Rectangle 74"/>
              <p:cNvSpPr/>
              <p:nvPr/>
            </p:nvSpPr>
            <p:spPr bwMode="auto">
              <a:xfrm>
                <a:off x="10308455" y="2888660"/>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6" name="Rectangle 75"/>
              <p:cNvSpPr/>
              <p:nvPr/>
            </p:nvSpPr>
            <p:spPr bwMode="auto">
              <a:xfrm>
                <a:off x="10308455" y="3002776"/>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72" name="Rectangle 71"/>
            <p:cNvSpPr/>
            <p:nvPr/>
          </p:nvSpPr>
          <p:spPr bwMode="auto">
            <a:xfrm>
              <a:off x="10402847" y="4504490"/>
              <a:ext cx="935598" cy="101474"/>
            </a:xfrm>
            <a:prstGeom prst="rect">
              <a:avLst/>
            </a:prstGeom>
            <a:noFill/>
            <a:ln>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73" name="TextBox 72"/>
          <p:cNvSpPr txBox="1"/>
          <p:nvPr/>
        </p:nvSpPr>
        <p:spPr>
          <a:xfrm>
            <a:off x="10449402" y="4518439"/>
            <a:ext cx="863891" cy="83100"/>
          </a:xfrm>
          <a:prstGeom prst="rect">
            <a:avLst/>
          </a:prstGeom>
          <a:noFill/>
        </p:spPr>
        <p:txBody>
          <a:bodyPr wrap="square" lIns="0" tIns="0" rIns="0" bIns="0" rtlCol="0">
            <a:spAutoFit/>
          </a:bodyPr>
          <a:lstStyle/>
          <a:p>
            <a:pPr defTabSz="932503">
              <a:lnSpc>
                <a:spcPct val="90000"/>
              </a:lnSpc>
            </a:pPr>
            <a:r>
              <a:rPr lang="en-US" sz="600" b="1" spc="300" dirty="0" smtClean="0">
                <a:gradFill>
                  <a:gsLst>
                    <a:gs pos="2917">
                      <a:srgbClr val="505050"/>
                    </a:gs>
                    <a:gs pos="30000">
                      <a:srgbClr val="505050"/>
                    </a:gs>
                  </a:gsLst>
                  <a:lin ang="5400000" scaled="0"/>
                </a:gradFill>
              </a:rPr>
              <a:t>XXXXX</a:t>
            </a:r>
          </a:p>
        </p:txBody>
      </p:sp>
      <p:grpSp>
        <p:nvGrpSpPr>
          <p:cNvPr id="36" name="Group 35"/>
          <p:cNvGrpSpPr/>
          <p:nvPr/>
        </p:nvGrpSpPr>
        <p:grpSpPr>
          <a:xfrm>
            <a:off x="5353373" y="2260527"/>
            <a:ext cx="1182316" cy="2259349"/>
            <a:chOff x="4908381" y="1920522"/>
            <a:chExt cx="1182316" cy="2259349"/>
          </a:xfrm>
        </p:grpSpPr>
        <p:sp>
          <p:nvSpPr>
            <p:cNvPr id="30" name="Rectangle 29"/>
            <p:cNvSpPr/>
            <p:nvPr/>
          </p:nvSpPr>
          <p:spPr bwMode="auto">
            <a:xfrm>
              <a:off x="5019675" y="2095461"/>
              <a:ext cx="976951" cy="181139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9" name="Freeform 5"/>
            <p:cNvSpPr>
              <a:spLocks noEditPoints="1"/>
            </p:cNvSpPr>
            <p:nvPr/>
          </p:nvSpPr>
          <p:spPr bwMode="auto">
            <a:xfrm>
              <a:off x="4908381" y="1920522"/>
              <a:ext cx="1182316" cy="2259349"/>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35" name="Group 34"/>
          <p:cNvGrpSpPr/>
          <p:nvPr/>
        </p:nvGrpSpPr>
        <p:grpSpPr>
          <a:xfrm>
            <a:off x="5509460" y="2561775"/>
            <a:ext cx="858496" cy="934429"/>
            <a:chOff x="5064468" y="2221770"/>
            <a:chExt cx="858496" cy="934429"/>
          </a:xfrm>
          <a:solidFill>
            <a:schemeClr val="bg2"/>
          </a:solidFill>
        </p:grpSpPr>
        <p:sp>
          <p:nvSpPr>
            <p:cNvPr id="79" name="Freeform 7"/>
            <p:cNvSpPr>
              <a:spLocks/>
            </p:cNvSpPr>
            <p:nvPr/>
          </p:nvSpPr>
          <p:spPr bwMode="auto">
            <a:xfrm>
              <a:off x="5081492" y="2221770"/>
              <a:ext cx="263606" cy="312857"/>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tx1">
                <a:lumMod val="50000"/>
              </a:schemeClr>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80" name="Group 79"/>
            <p:cNvGrpSpPr/>
            <p:nvPr/>
          </p:nvGrpSpPr>
          <p:grpSpPr>
            <a:xfrm>
              <a:off x="5064468" y="2669415"/>
              <a:ext cx="858496" cy="288115"/>
              <a:chOff x="10308455" y="2774544"/>
              <a:chExt cx="1138237" cy="288115"/>
            </a:xfrm>
            <a:grpFill/>
          </p:grpSpPr>
          <p:sp>
            <p:nvSpPr>
              <p:cNvPr id="82" name="Rectangle 81"/>
              <p:cNvSpPr/>
              <p:nvPr/>
            </p:nvSpPr>
            <p:spPr bwMode="auto">
              <a:xfrm>
                <a:off x="10308455" y="2774544"/>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3" name="Rectangle 82"/>
              <p:cNvSpPr/>
              <p:nvPr/>
            </p:nvSpPr>
            <p:spPr bwMode="auto">
              <a:xfrm>
                <a:off x="10308455" y="2888660"/>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4" name="Rectangle 83"/>
              <p:cNvSpPr/>
              <p:nvPr/>
            </p:nvSpPr>
            <p:spPr bwMode="auto">
              <a:xfrm>
                <a:off x="10308455" y="3002776"/>
                <a:ext cx="1138237" cy="59883"/>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81" name="Rectangle 80"/>
            <p:cNvSpPr/>
            <p:nvPr/>
          </p:nvSpPr>
          <p:spPr bwMode="auto">
            <a:xfrm>
              <a:off x="5064468" y="3054725"/>
              <a:ext cx="858495" cy="101474"/>
            </a:xfrm>
            <a:prstGeom prst="rect">
              <a:avLst/>
            </a:prstGeom>
            <a:noFill/>
            <a:ln w="12700">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37" name="TextBox 36"/>
          <p:cNvSpPr txBox="1"/>
          <p:nvPr/>
        </p:nvSpPr>
        <p:spPr>
          <a:xfrm>
            <a:off x="5364166" y="3260442"/>
            <a:ext cx="872629" cy="392415"/>
          </a:xfrm>
          <a:prstGeom prst="rect">
            <a:avLst/>
          </a:prstGeom>
          <a:noFill/>
        </p:spPr>
        <p:txBody>
          <a:bodyPr wrap="square" lIns="182880" tIns="146304" rIns="182880" bIns="146304" rtlCol="0">
            <a:spAutoFit/>
          </a:bodyPr>
          <a:lstStyle/>
          <a:p>
            <a:pPr defTabSz="932503">
              <a:lnSpc>
                <a:spcPct val="90000"/>
              </a:lnSpc>
            </a:pPr>
            <a:r>
              <a:rPr lang="en-US" sz="700" b="1" spc="300" dirty="0" smtClean="0">
                <a:gradFill>
                  <a:gsLst>
                    <a:gs pos="2917">
                      <a:srgbClr val="505050"/>
                    </a:gs>
                    <a:gs pos="30000">
                      <a:srgbClr val="505050"/>
                    </a:gs>
                  </a:gsLst>
                  <a:lin ang="5400000" scaled="0"/>
                </a:gradFill>
              </a:rPr>
              <a:t>XXXXX</a:t>
            </a:r>
          </a:p>
        </p:txBody>
      </p:sp>
      <p:sp>
        <p:nvSpPr>
          <p:cNvPr id="193" name="Oval 16"/>
          <p:cNvSpPr>
            <a:spLocks noChangeArrowheads="1"/>
          </p:cNvSpPr>
          <p:nvPr/>
        </p:nvSpPr>
        <p:spPr bwMode="auto">
          <a:xfrm>
            <a:off x="6219774" y="2418408"/>
            <a:ext cx="211885" cy="215551"/>
          </a:xfrm>
          <a:prstGeom prst="ellipse">
            <a:avLst/>
          </a:pr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4" name="Freeform 17"/>
          <p:cNvSpPr>
            <a:spLocks/>
          </p:cNvSpPr>
          <p:nvPr/>
        </p:nvSpPr>
        <p:spPr bwMode="auto">
          <a:xfrm>
            <a:off x="6219774" y="2116343"/>
            <a:ext cx="509551" cy="517616"/>
          </a:xfrm>
          <a:custGeom>
            <a:avLst/>
            <a:gdLst>
              <a:gd name="T0" fmla="*/ 1401 w 1401"/>
              <a:gd name="T1" fmla="*/ 1424 h 1424"/>
              <a:gd name="T2" fmla="*/ 994 w 1401"/>
              <a:gd name="T3" fmla="*/ 1424 h 1424"/>
              <a:gd name="T4" fmla="*/ 0 w 1401"/>
              <a:gd name="T5" fmla="*/ 419 h 1424"/>
              <a:gd name="T6" fmla="*/ 0 w 1401"/>
              <a:gd name="T7" fmla="*/ 419 h 1424"/>
              <a:gd name="T8" fmla="*/ 0 w 1401"/>
              <a:gd name="T9" fmla="*/ 0 h 1424"/>
              <a:gd name="T10" fmla="*/ 1401 w 1401"/>
              <a:gd name="T11" fmla="*/ 1424 h 1424"/>
            </a:gdLst>
            <a:ahLst/>
            <a:cxnLst>
              <a:cxn ang="0">
                <a:pos x="T0" y="T1"/>
              </a:cxn>
              <a:cxn ang="0">
                <a:pos x="T2" y="T3"/>
              </a:cxn>
              <a:cxn ang="0">
                <a:pos x="T4" y="T5"/>
              </a:cxn>
              <a:cxn ang="0">
                <a:pos x="T6" y="T7"/>
              </a:cxn>
              <a:cxn ang="0">
                <a:pos x="T8" y="T9"/>
              </a:cxn>
              <a:cxn ang="0">
                <a:pos x="T10" y="T11"/>
              </a:cxn>
            </a:cxnLst>
            <a:rect l="0" t="0" r="r" b="b"/>
            <a:pathLst>
              <a:path w="1401" h="1424">
                <a:moveTo>
                  <a:pt x="1401" y="1424"/>
                </a:moveTo>
                <a:cubicBezTo>
                  <a:pt x="994" y="1424"/>
                  <a:pt x="994" y="1424"/>
                  <a:pt x="994" y="1424"/>
                </a:cubicBezTo>
                <a:cubicBezTo>
                  <a:pt x="994" y="865"/>
                  <a:pt x="551" y="419"/>
                  <a:pt x="0" y="419"/>
                </a:cubicBezTo>
                <a:cubicBezTo>
                  <a:pt x="0" y="419"/>
                  <a:pt x="0" y="419"/>
                  <a:pt x="0" y="419"/>
                </a:cubicBezTo>
                <a:cubicBezTo>
                  <a:pt x="0" y="0"/>
                  <a:pt x="0" y="0"/>
                  <a:pt x="0" y="0"/>
                </a:cubicBezTo>
                <a:cubicBezTo>
                  <a:pt x="775" y="0"/>
                  <a:pt x="1401" y="639"/>
                  <a:pt x="1401" y="1424"/>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5" name="Freeform 18"/>
          <p:cNvSpPr>
            <a:spLocks/>
          </p:cNvSpPr>
          <p:nvPr/>
        </p:nvSpPr>
        <p:spPr bwMode="auto">
          <a:xfrm>
            <a:off x="6219774" y="1853136"/>
            <a:ext cx="772025" cy="780823"/>
          </a:xfrm>
          <a:custGeom>
            <a:avLst/>
            <a:gdLst>
              <a:gd name="T0" fmla="*/ 1700 w 2124"/>
              <a:gd name="T1" fmla="*/ 2147 h 2147"/>
              <a:gd name="T2" fmla="*/ 0 w 2124"/>
              <a:gd name="T3" fmla="*/ 429 h 2147"/>
              <a:gd name="T4" fmla="*/ 0 w 2124"/>
              <a:gd name="T5" fmla="*/ 0 h 2147"/>
              <a:gd name="T6" fmla="*/ 2124 w 2124"/>
              <a:gd name="T7" fmla="*/ 2147 h 2147"/>
              <a:gd name="T8" fmla="*/ 1700 w 2124"/>
              <a:gd name="T9" fmla="*/ 2147 h 2147"/>
              <a:gd name="T10" fmla="*/ 1700 w 2124"/>
              <a:gd name="T11" fmla="*/ 2147 h 2147"/>
            </a:gdLst>
            <a:ahLst/>
            <a:cxnLst>
              <a:cxn ang="0">
                <a:pos x="T0" y="T1"/>
              </a:cxn>
              <a:cxn ang="0">
                <a:pos x="T2" y="T3"/>
              </a:cxn>
              <a:cxn ang="0">
                <a:pos x="T4" y="T5"/>
              </a:cxn>
              <a:cxn ang="0">
                <a:pos x="T6" y="T7"/>
              </a:cxn>
              <a:cxn ang="0">
                <a:pos x="T8" y="T9"/>
              </a:cxn>
              <a:cxn ang="0">
                <a:pos x="T10" y="T11"/>
              </a:cxn>
            </a:cxnLst>
            <a:rect l="0" t="0" r="r" b="b"/>
            <a:pathLst>
              <a:path w="2124" h="2147">
                <a:moveTo>
                  <a:pt x="1700" y="2147"/>
                </a:moveTo>
                <a:cubicBezTo>
                  <a:pt x="1700" y="1197"/>
                  <a:pt x="939" y="429"/>
                  <a:pt x="0" y="429"/>
                </a:cubicBezTo>
                <a:cubicBezTo>
                  <a:pt x="0" y="0"/>
                  <a:pt x="0" y="0"/>
                  <a:pt x="0" y="0"/>
                </a:cubicBezTo>
                <a:cubicBezTo>
                  <a:pt x="1175" y="0"/>
                  <a:pt x="2124" y="960"/>
                  <a:pt x="2124" y="2147"/>
                </a:cubicBezTo>
                <a:cubicBezTo>
                  <a:pt x="1700" y="2147"/>
                  <a:pt x="1700" y="2147"/>
                  <a:pt x="1700" y="2147"/>
                </a:cubicBezTo>
                <a:cubicBezTo>
                  <a:pt x="1700" y="2147"/>
                  <a:pt x="1700" y="2147"/>
                  <a:pt x="1700" y="2147"/>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03" name="Group 102"/>
          <p:cNvGrpSpPr/>
          <p:nvPr/>
        </p:nvGrpSpPr>
        <p:grpSpPr>
          <a:xfrm>
            <a:off x="9713071" y="4433007"/>
            <a:ext cx="1628758" cy="652262"/>
            <a:chOff x="9713071" y="4433007"/>
            <a:chExt cx="1628758" cy="652262"/>
          </a:xfrm>
          <a:solidFill>
            <a:schemeClr val="bg2"/>
          </a:solidFill>
        </p:grpSpPr>
        <p:sp>
          <p:nvSpPr>
            <p:cNvPr id="104"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05" name="Group 104"/>
            <p:cNvGrpSpPr/>
            <p:nvPr/>
          </p:nvGrpSpPr>
          <p:grpSpPr>
            <a:xfrm>
              <a:off x="10402846" y="4725672"/>
              <a:ext cx="938983" cy="288115"/>
              <a:chOff x="10308455" y="2774544"/>
              <a:chExt cx="1138237" cy="288115"/>
            </a:xfrm>
            <a:grpFill/>
          </p:grpSpPr>
          <p:sp>
            <p:nvSpPr>
              <p:cNvPr id="107" name="Rectangle 106"/>
              <p:cNvSpPr/>
              <p:nvPr/>
            </p:nvSpPr>
            <p:spPr bwMode="auto">
              <a:xfrm>
                <a:off x="10308455" y="2774544"/>
                <a:ext cx="1138237" cy="59883"/>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08" name="Rectangle 107"/>
              <p:cNvSpPr/>
              <p:nvPr/>
            </p:nvSpPr>
            <p:spPr bwMode="auto">
              <a:xfrm>
                <a:off x="10308455" y="2888660"/>
                <a:ext cx="1138237" cy="59883"/>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09" name="Rectangle 108"/>
              <p:cNvSpPr/>
              <p:nvPr/>
            </p:nvSpPr>
            <p:spPr bwMode="auto">
              <a:xfrm>
                <a:off x="10308455" y="3002776"/>
                <a:ext cx="1138237" cy="59883"/>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106" name="Rectangle 105"/>
            <p:cNvSpPr/>
            <p:nvPr/>
          </p:nvSpPr>
          <p:spPr bwMode="auto">
            <a:xfrm>
              <a:off x="10402847" y="4504490"/>
              <a:ext cx="935598" cy="101474"/>
            </a:xfrm>
            <a:prstGeom prst="rect">
              <a:avLst/>
            </a:prstGeom>
            <a:no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110" name="Group 109"/>
          <p:cNvGrpSpPr/>
          <p:nvPr/>
        </p:nvGrpSpPr>
        <p:grpSpPr>
          <a:xfrm>
            <a:off x="9689722" y="2412407"/>
            <a:ext cx="1628758" cy="652262"/>
            <a:chOff x="9713071" y="4433007"/>
            <a:chExt cx="1628758" cy="652262"/>
          </a:xfrm>
          <a:solidFill>
            <a:schemeClr val="accent2"/>
          </a:solidFill>
        </p:grpSpPr>
        <p:sp>
          <p:nvSpPr>
            <p:cNvPr id="111" name="Freeform 7"/>
            <p:cNvSpPr>
              <a:spLocks/>
            </p:cNvSpPr>
            <p:nvPr/>
          </p:nvSpPr>
          <p:spPr bwMode="auto">
            <a:xfrm>
              <a:off x="9713071" y="4433007"/>
              <a:ext cx="549581" cy="652262"/>
            </a:xfrm>
            <a:custGeom>
              <a:avLst/>
              <a:gdLst>
                <a:gd name="T0" fmla="*/ 925 w 925"/>
                <a:gd name="T1" fmla="*/ 1097 h 1097"/>
                <a:gd name="T2" fmla="*/ 854 w 925"/>
                <a:gd name="T3" fmla="*/ 770 h 1097"/>
                <a:gd name="T4" fmla="*/ 701 w 925"/>
                <a:gd name="T5" fmla="*/ 666 h 1097"/>
                <a:gd name="T6" fmla="*/ 608 w 925"/>
                <a:gd name="T7" fmla="*/ 622 h 1097"/>
                <a:gd name="T8" fmla="*/ 602 w 925"/>
                <a:gd name="T9" fmla="*/ 584 h 1097"/>
                <a:gd name="T10" fmla="*/ 569 w 925"/>
                <a:gd name="T11" fmla="*/ 579 h 1097"/>
                <a:gd name="T12" fmla="*/ 564 w 925"/>
                <a:gd name="T13" fmla="*/ 535 h 1097"/>
                <a:gd name="T14" fmla="*/ 602 w 925"/>
                <a:gd name="T15" fmla="*/ 448 h 1097"/>
                <a:gd name="T16" fmla="*/ 641 w 925"/>
                <a:gd name="T17" fmla="*/ 398 h 1097"/>
                <a:gd name="T18" fmla="*/ 624 w 925"/>
                <a:gd name="T19" fmla="*/ 322 h 1097"/>
                <a:gd name="T20" fmla="*/ 624 w 925"/>
                <a:gd name="T21" fmla="*/ 169 h 1097"/>
                <a:gd name="T22" fmla="*/ 351 w 925"/>
                <a:gd name="T23" fmla="*/ 98 h 1097"/>
                <a:gd name="T24" fmla="*/ 285 w 925"/>
                <a:gd name="T25" fmla="*/ 278 h 1097"/>
                <a:gd name="T26" fmla="*/ 301 w 925"/>
                <a:gd name="T27" fmla="*/ 327 h 1097"/>
                <a:gd name="T28" fmla="*/ 296 w 925"/>
                <a:gd name="T29" fmla="*/ 409 h 1097"/>
                <a:gd name="T30" fmla="*/ 323 w 925"/>
                <a:gd name="T31" fmla="*/ 448 h 1097"/>
                <a:gd name="T32" fmla="*/ 367 w 925"/>
                <a:gd name="T33" fmla="*/ 535 h 1097"/>
                <a:gd name="T34" fmla="*/ 367 w 925"/>
                <a:gd name="T35" fmla="*/ 579 h 1097"/>
                <a:gd name="T36" fmla="*/ 334 w 925"/>
                <a:gd name="T37" fmla="*/ 584 h 1097"/>
                <a:gd name="T38" fmla="*/ 329 w 925"/>
                <a:gd name="T39" fmla="*/ 617 h 1097"/>
                <a:gd name="T40" fmla="*/ 241 w 925"/>
                <a:gd name="T41" fmla="*/ 660 h 1097"/>
                <a:gd name="T42" fmla="*/ 61 w 925"/>
                <a:gd name="T43" fmla="*/ 802 h 1097"/>
                <a:gd name="T44" fmla="*/ 0 w 925"/>
                <a:gd name="T45" fmla="*/ 1097 h 1097"/>
                <a:gd name="T46" fmla="*/ 925 w 925"/>
                <a:gd name="T47" fmla="*/ 109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5" h="1097">
                  <a:moveTo>
                    <a:pt x="925" y="1097"/>
                  </a:moveTo>
                  <a:cubicBezTo>
                    <a:pt x="925" y="1037"/>
                    <a:pt x="854" y="770"/>
                    <a:pt x="854" y="770"/>
                  </a:cubicBezTo>
                  <a:cubicBezTo>
                    <a:pt x="854" y="731"/>
                    <a:pt x="799" y="688"/>
                    <a:pt x="701" y="666"/>
                  </a:cubicBezTo>
                  <a:cubicBezTo>
                    <a:pt x="651" y="650"/>
                    <a:pt x="608" y="622"/>
                    <a:pt x="608" y="622"/>
                  </a:cubicBezTo>
                  <a:cubicBezTo>
                    <a:pt x="597" y="617"/>
                    <a:pt x="602" y="584"/>
                    <a:pt x="602" y="584"/>
                  </a:cubicBezTo>
                  <a:cubicBezTo>
                    <a:pt x="569" y="579"/>
                    <a:pt x="569" y="579"/>
                    <a:pt x="569" y="579"/>
                  </a:cubicBezTo>
                  <a:cubicBezTo>
                    <a:pt x="569" y="573"/>
                    <a:pt x="564" y="535"/>
                    <a:pt x="564" y="535"/>
                  </a:cubicBezTo>
                  <a:cubicBezTo>
                    <a:pt x="602" y="524"/>
                    <a:pt x="602" y="448"/>
                    <a:pt x="602" y="448"/>
                  </a:cubicBezTo>
                  <a:cubicBezTo>
                    <a:pt x="624" y="458"/>
                    <a:pt x="641" y="398"/>
                    <a:pt x="641" y="398"/>
                  </a:cubicBezTo>
                  <a:cubicBezTo>
                    <a:pt x="668" y="316"/>
                    <a:pt x="624" y="322"/>
                    <a:pt x="624" y="322"/>
                  </a:cubicBezTo>
                  <a:cubicBezTo>
                    <a:pt x="641" y="262"/>
                    <a:pt x="624" y="169"/>
                    <a:pt x="624" y="169"/>
                  </a:cubicBezTo>
                  <a:cubicBezTo>
                    <a:pt x="608" y="0"/>
                    <a:pt x="318" y="43"/>
                    <a:pt x="351" y="98"/>
                  </a:cubicBezTo>
                  <a:cubicBezTo>
                    <a:pt x="263" y="87"/>
                    <a:pt x="285" y="278"/>
                    <a:pt x="285" y="278"/>
                  </a:cubicBezTo>
                  <a:cubicBezTo>
                    <a:pt x="301" y="327"/>
                    <a:pt x="301" y="327"/>
                    <a:pt x="301" y="327"/>
                  </a:cubicBezTo>
                  <a:cubicBezTo>
                    <a:pt x="269" y="349"/>
                    <a:pt x="290" y="377"/>
                    <a:pt x="296" y="409"/>
                  </a:cubicBezTo>
                  <a:cubicBezTo>
                    <a:pt x="296" y="458"/>
                    <a:pt x="323" y="448"/>
                    <a:pt x="323" y="448"/>
                  </a:cubicBezTo>
                  <a:cubicBezTo>
                    <a:pt x="329" y="529"/>
                    <a:pt x="367" y="535"/>
                    <a:pt x="367" y="535"/>
                  </a:cubicBezTo>
                  <a:cubicBezTo>
                    <a:pt x="372" y="584"/>
                    <a:pt x="367" y="579"/>
                    <a:pt x="367" y="579"/>
                  </a:cubicBezTo>
                  <a:cubicBezTo>
                    <a:pt x="334" y="584"/>
                    <a:pt x="334" y="584"/>
                    <a:pt x="334" y="584"/>
                  </a:cubicBezTo>
                  <a:cubicBezTo>
                    <a:pt x="334" y="595"/>
                    <a:pt x="329" y="617"/>
                    <a:pt x="329" y="617"/>
                  </a:cubicBezTo>
                  <a:cubicBezTo>
                    <a:pt x="290" y="633"/>
                    <a:pt x="279" y="644"/>
                    <a:pt x="241" y="660"/>
                  </a:cubicBezTo>
                  <a:cubicBezTo>
                    <a:pt x="159" y="699"/>
                    <a:pt x="77" y="742"/>
                    <a:pt x="61" y="802"/>
                  </a:cubicBezTo>
                  <a:cubicBezTo>
                    <a:pt x="44" y="862"/>
                    <a:pt x="0" y="1097"/>
                    <a:pt x="0" y="1097"/>
                  </a:cubicBezTo>
                  <a:cubicBezTo>
                    <a:pt x="925" y="1097"/>
                    <a:pt x="925" y="1097"/>
                    <a:pt x="925" y="109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112" name="Group 111"/>
            <p:cNvGrpSpPr/>
            <p:nvPr/>
          </p:nvGrpSpPr>
          <p:grpSpPr>
            <a:xfrm>
              <a:off x="10402846" y="4725672"/>
              <a:ext cx="938983" cy="288115"/>
              <a:chOff x="10308455" y="2774544"/>
              <a:chExt cx="1138237" cy="288115"/>
            </a:xfrm>
            <a:grpFill/>
          </p:grpSpPr>
          <p:sp>
            <p:nvSpPr>
              <p:cNvPr id="114" name="Rectangle 113"/>
              <p:cNvSpPr/>
              <p:nvPr/>
            </p:nvSpPr>
            <p:spPr bwMode="auto">
              <a:xfrm>
                <a:off x="10308455" y="2774544"/>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15" name="Rectangle 114"/>
              <p:cNvSpPr/>
              <p:nvPr/>
            </p:nvSpPr>
            <p:spPr bwMode="auto">
              <a:xfrm>
                <a:off x="10308455" y="2888660"/>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16" name="Rectangle 115"/>
              <p:cNvSpPr/>
              <p:nvPr/>
            </p:nvSpPr>
            <p:spPr bwMode="auto">
              <a:xfrm>
                <a:off x="10308455" y="3002776"/>
                <a:ext cx="1138237" cy="59883"/>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113" name="Rectangle 112"/>
            <p:cNvSpPr/>
            <p:nvPr/>
          </p:nvSpPr>
          <p:spPr bwMode="auto">
            <a:xfrm>
              <a:off x="10402847" y="4504490"/>
              <a:ext cx="935598" cy="101474"/>
            </a:xfrm>
            <a:prstGeom prst="rect">
              <a:avLst/>
            </a:prstGeom>
            <a:noFill/>
            <a:ln>
              <a:solidFill>
                <a:srgbClr val="C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118" name="Oval 16"/>
          <p:cNvSpPr>
            <a:spLocks noChangeArrowheads="1"/>
          </p:cNvSpPr>
          <p:nvPr/>
        </p:nvSpPr>
        <p:spPr bwMode="auto">
          <a:xfrm flipV="1">
            <a:off x="4982812" y="1911829"/>
            <a:ext cx="211885" cy="215551"/>
          </a:xfrm>
          <a:prstGeom prst="ellipse">
            <a:avLst/>
          </a:pr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9" name="Freeform 17"/>
          <p:cNvSpPr>
            <a:spLocks/>
          </p:cNvSpPr>
          <p:nvPr/>
        </p:nvSpPr>
        <p:spPr bwMode="auto">
          <a:xfrm flipV="1">
            <a:off x="4982812" y="1911829"/>
            <a:ext cx="509551" cy="517616"/>
          </a:xfrm>
          <a:custGeom>
            <a:avLst/>
            <a:gdLst>
              <a:gd name="T0" fmla="*/ 1401 w 1401"/>
              <a:gd name="T1" fmla="*/ 1424 h 1424"/>
              <a:gd name="T2" fmla="*/ 994 w 1401"/>
              <a:gd name="T3" fmla="*/ 1424 h 1424"/>
              <a:gd name="T4" fmla="*/ 0 w 1401"/>
              <a:gd name="T5" fmla="*/ 419 h 1424"/>
              <a:gd name="T6" fmla="*/ 0 w 1401"/>
              <a:gd name="T7" fmla="*/ 419 h 1424"/>
              <a:gd name="T8" fmla="*/ 0 w 1401"/>
              <a:gd name="T9" fmla="*/ 0 h 1424"/>
              <a:gd name="T10" fmla="*/ 1401 w 1401"/>
              <a:gd name="T11" fmla="*/ 1424 h 1424"/>
            </a:gdLst>
            <a:ahLst/>
            <a:cxnLst>
              <a:cxn ang="0">
                <a:pos x="T0" y="T1"/>
              </a:cxn>
              <a:cxn ang="0">
                <a:pos x="T2" y="T3"/>
              </a:cxn>
              <a:cxn ang="0">
                <a:pos x="T4" y="T5"/>
              </a:cxn>
              <a:cxn ang="0">
                <a:pos x="T6" y="T7"/>
              </a:cxn>
              <a:cxn ang="0">
                <a:pos x="T8" y="T9"/>
              </a:cxn>
              <a:cxn ang="0">
                <a:pos x="T10" y="T11"/>
              </a:cxn>
            </a:cxnLst>
            <a:rect l="0" t="0" r="r" b="b"/>
            <a:pathLst>
              <a:path w="1401" h="1424">
                <a:moveTo>
                  <a:pt x="1401" y="1424"/>
                </a:moveTo>
                <a:cubicBezTo>
                  <a:pt x="994" y="1424"/>
                  <a:pt x="994" y="1424"/>
                  <a:pt x="994" y="1424"/>
                </a:cubicBezTo>
                <a:cubicBezTo>
                  <a:pt x="994" y="865"/>
                  <a:pt x="551" y="419"/>
                  <a:pt x="0" y="419"/>
                </a:cubicBezTo>
                <a:cubicBezTo>
                  <a:pt x="0" y="419"/>
                  <a:pt x="0" y="419"/>
                  <a:pt x="0" y="419"/>
                </a:cubicBezTo>
                <a:cubicBezTo>
                  <a:pt x="0" y="0"/>
                  <a:pt x="0" y="0"/>
                  <a:pt x="0" y="0"/>
                </a:cubicBezTo>
                <a:cubicBezTo>
                  <a:pt x="775" y="0"/>
                  <a:pt x="1401" y="639"/>
                  <a:pt x="1401" y="1424"/>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0" name="Freeform 18"/>
          <p:cNvSpPr>
            <a:spLocks/>
          </p:cNvSpPr>
          <p:nvPr/>
        </p:nvSpPr>
        <p:spPr bwMode="auto">
          <a:xfrm flipV="1">
            <a:off x="4982812" y="1911829"/>
            <a:ext cx="772025" cy="780823"/>
          </a:xfrm>
          <a:custGeom>
            <a:avLst/>
            <a:gdLst>
              <a:gd name="T0" fmla="*/ 1700 w 2124"/>
              <a:gd name="T1" fmla="*/ 2147 h 2147"/>
              <a:gd name="T2" fmla="*/ 0 w 2124"/>
              <a:gd name="T3" fmla="*/ 429 h 2147"/>
              <a:gd name="T4" fmla="*/ 0 w 2124"/>
              <a:gd name="T5" fmla="*/ 0 h 2147"/>
              <a:gd name="T6" fmla="*/ 2124 w 2124"/>
              <a:gd name="T7" fmla="*/ 2147 h 2147"/>
              <a:gd name="T8" fmla="*/ 1700 w 2124"/>
              <a:gd name="T9" fmla="*/ 2147 h 2147"/>
              <a:gd name="T10" fmla="*/ 1700 w 2124"/>
              <a:gd name="T11" fmla="*/ 2147 h 2147"/>
            </a:gdLst>
            <a:ahLst/>
            <a:cxnLst>
              <a:cxn ang="0">
                <a:pos x="T0" y="T1"/>
              </a:cxn>
              <a:cxn ang="0">
                <a:pos x="T2" y="T3"/>
              </a:cxn>
              <a:cxn ang="0">
                <a:pos x="T4" y="T5"/>
              </a:cxn>
              <a:cxn ang="0">
                <a:pos x="T6" y="T7"/>
              </a:cxn>
              <a:cxn ang="0">
                <a:pos x="T8" y="T9"/>
              </a:cxn>
              <a:cxn ang="0">
                <a:pos x="T10" y="T11"/>
              </a:cxn>
            </a:cxnLst>
            <a:rect l="0" t="0" r="r" b="b"/>
            <a:pathLst>
              <a:path w="2124" h="2147">
                <a:moveTo>
                  <a:pt x="1700" y="2147"/>
                </a:moveTo>
                <a:cubicBezTo>
                  <a:pt x="1700" y="1197"/>
                  <a:pt x="939" y="429"/>
                  <a:pt x="0" y="429"/>
                </a:cubicBezTo>
                <a:cubicBezTo>
                  <a:pt x="0" y="0"/>
                  <a:pt x="0" y="0"/>
                  <a:pt x="0" y="0"/>
                </a:cubicBezTo>
                <a:cubicBezTo>
                  <a:pt x="1175" y="0"/>
                  <a:pt x="2124" y="960"/>
                  <a:pt x="2124" y="2147"/>
                </a:cubicBezTo>
                <a:cubicBezTo>
                  <a:pt x="1700" y="2147"/>
                  <a:pt x="1700" y="2147"/>
                  <a:pt x="1700" y="2147"/>
                </a:cubicBezTo>
                <a:cubicBezTo>
                  <a:pt x="1700" y="2147"/>
                  <a:pt x="1700" y="2147"/>
                  <a:pt x="1700" y="2147"/>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203" name="Group 202"/>
          <p:cNvGrpSpPr/>
          <p:nvPr/>
        </p:nvGrpSpPr>
        <p:grpSpPr>
          <a:xfrm>
            <a:off x="10720476" y="3274243"/>
            <a:ext cx="1114426" cy="1112838"/>
            <a:chOff x="10720476" y="3274243"/>
            <a:chExt cx="1114426" cy="1112838"/>
          </a:xfrm>
        </p:grpSpPr>
        <p:sp>
          <p:nvSpPr>
            <p:cNvPr id="198" name="Freeform 197"/>
            <p:cNvSpPr/>
            <p:nvPr/>
          </p:nvSpPr>
          <p:spPr bwMode="auto">
            <a:xfrm>
              <a:off x="10915650" y="3409950"/>
              <a:ext cx="838200" cy="885825"/>
            </a:xfrm>
            <a:custGeom>
              <a:avLst/>
              <a:gdLst>
                <a:gd name="connsiteX0" fmla="*/ 390525 w 838200"/>
                <a:gd name="connsiteY0" fmla="*/ 0 h 885825"/>
                <a:gd name="connsiteX1" fmla="*/ 0 w 838200"/>
                <a:gd name="connsiteY1" fmla="*/ 371475 h 885825"/>
                <a:gd name="connsiteX2" fmla="*/ 419100 w 838200"/>
                <a:gd name="connsiteY2" fmla="*/ 885825 h 885825"/>
                <a:gd name="connsiteX3" fmla="*/ 838200 w 838200"/>
                <a:gd name="connsiteY3" fmla="*/ 438150 h 885825"/>
                <a:gd name="connsiteX4" fmla="*/ 390525 w 838200"/>
                <a:gd name="connsiteY4" fmla="*/ 0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 h="885825">
                  <a:moveTo>
                    <a:pt x="390525" y="0"/>
                  </a:moveTo>
                  <a:lnTo>
                    <a:pt x="0" y="371475"/>
                  </a:lnTo>
                  <a:lnTo>
                    <a:pt x="419100" y="885825"/>
                  </a:lnTo>
                  <a:lnTo>
                    <a:pt x="838200" y="438150"/>
                  </a:lnTo>
                  <a:lnTo>
                    <a:pt x="390525" y="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02" name="Freeform 22"/>
            <p:cNvSpPr>
              <a:spLocks noEditPoints="1"/>
            </p:cNvSpPr>
            <p:nvPr/>
          </p:nvSpPr>
          <p:spPr bwMode="auto">
            <a:xfrm>
              <a:off x="10720476" y="3274243"/>
              <a:ext cx="1114426" cy="1112838"/>
            </a:xfrm>
            <a:custGeom>
              <a:avLst/>
              <a:gdLst>
                <a:gd name="T0" fmla="*/ 1900 w 1970"/>
                <a:gd name="T1" fmla="*/ 851 h 1965"/>
                <a:gd name="T2" fmla="*/ 1900 w 1970"/>
                <a:gd name="T3" fmla="*/ 1108 h 1965"/>
                <a:gd name="T4" fmla="*/ 1117 w 1970"/>
                <a:gd name="T5" fmla="*/ 1894 h 1965"/>
                <a:gd name="T6" fmla="*/ 859 w 1970"/>
                <a:gd name="T7" fmla="*/ 1894 h 1965"/>
                <a:gd name="T8" fmla="*/ 71 w 1970"/>
                <a:gd name="T9" fmla="*/ 1108 h 1965"/>
                <a:gd name="T10" fmla="*/ 71 w 1970"/>
                <a:gd name="T11" fmla="*/ 851 h 1965"/>
                <a:gd name="T12" fmla="*/ 859 w 1970"/>
                <a:gd name="T13" fmla="*/ 70 h 1965"/>
                <a:gd name="T14" fmla="*/ 1117 w 1970"/>
                <a:gd name="T15" fmla="*/ 70 h 1965"/>
                <a:gd name="T16" fmla="*/ 1900 w 1970"/>
                <a:gd name="T17" fmla="*/ 851 h 1965"/>
                <a:gd name="T18" fmla="*/ 1900 w 1970"/>
                <a:gd name="T19" fmla="*/ 851 h 1965"/>
                <a:gd name="T20" fmla="*/ 1041 w 1970"/>
                <a:gd name="T21" fmla="*/ 947 h 1965"/>
                <a:gd name="T22" fmla="*/ 1086 w 1970"/>
                <a:gd name="T23" fmla="*/ 781 h 1965"/>
                <a:gd name="T24" fmla="*/ 1122 w 1970"/>
                <a:gd name="T25" fmla="*/ 559 h 1965"/>
                <a:gd name="T26" fmla="*/ 1086 w 1970"/>
                <a:gd name="T27" fmla="*/ 463 h 1965"/>
                <a:gd name="T28" fmla="*/ 990 w 1970"/>
                <a:gd name="T29" fmla="*/ 428 h 1965"/>
                <a:gd name="T30" fmla="*/ 899 w 1970"/>
                <a:gd name="T31" fmla="*/ 463 h 1965"/>
                <a:gd name="T32" fmla="*/ 864 w 1970"/>
                <a:gd name="T33" fmla="*/ 559 h 1965"/>
                <a:gd name="T34" fmla="*/ 899 w 1970"/>
                <a:gd name="T35" fmla="*/ 781 h 1965"/>
                <a:gd name="T36" fmla="*/ 940 w 1970"/>
                <a:gd name="T37" fmla="*/ 947 h 1965"/>
                <a:gd name="T38" fmla="*/ 975 w 1970"/>
                <a:gd name="T39" fmla="*/ 1164 h 1965"/>
                <a:gd name="T40" fmla="*/ 1011 w 1970"/>
                <a:gd name="T41" fmla="*/ 1164 h 1965"/>
                <a:gd name="T42" fmla="*/ 1041 w 1970"/>
                <a:gd name="T43" fmla="*/ 947 h 1965"/>
                <a:gd name="T44" fmla="*/ 904 w 1970"/>
                <a:gd name="T45" fmla="*/ 1315 h 1965"/>
                <a:gd name="T46" fmla="*/ 869 w 1970"/>
                <a:gd name="T47" fmla="*/ 1405 h 1965"/>
                <a:gd name="T48" fmla="*/ 904 w 1970"/>
                <a:gd name="T49" fmla="*/ 1496 h 1965"/>
                <a:gd name="T50" fmla="*/ 995 w 1970"/>
                <a:gd name="T51" fmla="*/ 1531 h 1965"/>
                <a:gd name="T52" fmla="*/ 1086 w 1970"/>
                <a:gd name="T53" fmla="*/ 1496 h 1965"/>
                <a:gd name="T54" fmla="*/ 1122 w 1970"/>
                <a:gd name="T55" fmla="*/ 1405 h 1965"/>
                <a:gd name="T56" fmla="*/ 1086 w 1970"/>
                <a:gd name="T57" fmla="*/ 1315 h 1965"/>
                <a:gd name="T58" fmla="*/ 995 w 1970"/>
                <a:gd name="T59" fmla="*/ 1280 h 1965"/>
                <a:gd name="T60" fmla="*/ 904 w 1970"/>
                <a:gd name="T61" fmla="*/ 131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0" h="1965">
                  <a:moveTo>
                    <a:pt x="1900" y="851"/>
                  </a:moveTo>
                  <a:cubicBezTo>
                    <a:pt x="1970" y="922"/>
                    <a:pt x="1970" y="1038"/>
                    <a:pt x="1900" y="1108"/>
                  </a:cubicBezTo>
                  <a:cubicBezTo>
                    <a:pt x="1117" y="1894"/>
                    <a:pt x="1117" y="1894"/>
                    <a:pt x="1117" y="1894"/>
                  </a:cubicBezTo>
                  <a:cubicBezTo>
                    <a:pt x="1046" y="1965"/>
                    <a:pt x="930" y="1965"/>
                    <a:pt x="859" y="1894"/>
                  </a:cubicBezTo>
                  <a:cubicBezTo>
                    <a:pt x="71" y="1108"/>
                    <a:pt x="71" y="1108"/>
                    <a:pt x="71" y="1108"/>
                  </a:cubicBezTo>
                  <a:cubicBezTo>
                    <a:pt x="0" y="1038"/>
                    <a:pt x="0" y="922"/>
                    <a:pt x="71" y="851"/>
                  </a:cubicBezTo>
                  <a:cubicBezTo>
                    <a:pt x="859" y="70"/>
                    <a:pt x="859" y="70"/>
                    <a:pt x="859" y="70"/>
                  </a:cubicBezTo>
                  <a:cubicBezTo>
                    <a:pt x="930" y="0"/>
                    <a:pt x="1046" y="0"/>
                    <a:pt x="1117" y="70"/>
                  </a:cubicBezTo>
                  <a:cubicBezTo>
                    <a:pt x="1900" y="851"/>
                    <a:pt x="1900" y="851"/>
                    <a:pt x="1900" y="851"/>
                  </a:cubicBezTo>
                  <a:cubicBezTo>
                    <a:pt x="1900" y="851"/>
                    <a:pt x="1900" y="851"/>
                    <a:pt x="1900" y="851"/>
                  </a:cubicBezTo>
                  <a:close/>
                  <a:moveTo>
                    <a:pt x="1041" y="947"/>
                  </a:moveTo>
                  <a:cubicBezTo>
                    <a:pt x="1086" y="781"/>
                    <a:pt x="1086" y="781"/>
                    <a:pt x="1086" y="781"/>
                  </a:cubicBezTo>
                  <a:cubicBezTo>
                    <a:pt x="1112" y="670"/>
                    <a:pt x="1122" y="599"/>
                    <a:pt x="1122" y="559"/>
                  </a:cubicBezTo>
                  <a:cubicBezTo>
                    <a:pt x="1122" y="519"/>
                    <a:pt x="1112" y="489"/>
                    <a:pt x="1086" y="463"/>
                  </a:cubicBezTo>
                  <a:cubicBezTo>
                    <a:pt x="1061" y="438"/>
                    <a:pt x="1031" y="428"/>
                    <a:pt x="990" y="428"/>
                  </a:cubicBezTo>
                  <a:cubicBezTo>
                    <a:pt x="955" y="428"/>
                    <a:pt x="920" y="438"/>
                    <a:pt x="899" y="463"/>
                  </a:cubicBezTo>
                  <a:cubicBezTo>
                    <a:pt x="874" y="489"/>
                    <a:pt x="864" y="519"/>
                    <a:pt x="864" y="559"/>
                  </a:cubicBezTo>
                  <a:cubicBezTo>
                    <a:pt x="864" y="604"/>
                    <a:pt x="874" y="680"/>
                    <a:pt x="899" y="781"/>
                  </a:cubicBezTo>
                  <a:cubicBezTo>
                    <a:pt x="940" y="947"/>
                    <a:pt x="940" y="947"/>
                    <a:pt x="940" y="947"/>
                  </a:cubicBezTo>
                  <a:cubicBezTo>
                    <a:pt x="960" y="1033"/>
                    <a:pt x="970" y="1103"/>
                    <a:pt x="975" y="1164"/>
                  </a:cubicBezTo>
                  <a:cubicBezTo>
                    <a:pt x="1011" y="1164"/>
                    <a:pt x="1011" y="1164"/>
                    <a:pt x="1011" y="1164"/>
                  </a:cubicBezTo>
                  <a:cubicBezTo>
                    <a:pt x="1016" y="1083"/>
                    <a:pt x="1026" y="1007"/>
                    <a:pt x="1041" y="947"/>
                  </a:cubicBezTo>
                  <a:close/>
                  <a:moveTo>
                    <a:pt x="904" y="1315"/>
                  </a:moveTo>
                  <a:cubicBezTo>
                    <a:pt x="879" y="1340"/>
                    <a:pt x="869" y="1370"/>
                    <a:pt x="869" y="1405"/>
                  </a:cubicBezTo>
                  <a:cubicBezTo>
                    <a:pt x="869" y="1441"/>
                    <a:pt x="879" y="1471"/>
                    <a:pt x="904" y="1496"/>
                  </a:cubicBezTo>
                  <a:cubicBezTo>
                    <a:pt x="930" y="1521"/>
                    <a:pt x="960" y="1531"/>
                    <a:pt x="995" y="1531"/>
                  </a:cubicBezTo>
                  <a:cubicBezTo>
                    <a:pt x="1031" y="1531"/>
                    <a:pt x="1061" y="1521"/>
                    <a:pt x="1086" y="1496"/>
                  </a:cubicBezTo>
                  <a:cubicBezTo>
                    <a:pt x="1107" y="1471"/>
                    <a:pt x="1122" y="1441"/>
                    <a:pt x="1122" y="1405"/>
                  </a:cubicBezTo>
                  <a:cubicBezTo>
                    <a:pt x="1122" y="1370"/>
                    <a:pt x="1107" y="1340"/>
                    <a:pt x="1086" y="1315"/>
                  </a:cubicBezTo>
                  <a:cubicBezTo>
                    <a:pt x="1061" y="1290"/>
                    <a:pt x="1031" y="1280"/>
                    <a:pt x="995" y="1280"/>
                  </a:cubicBezTo>
                  <a:cubicBezTo>
                    <a:pt x="960" y="1280"/>
                    <a:pt x="930" y="1290"/>
                    <a:pt x="904" y="131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94" name="Group 93"/>
          <p:cNvGrpSpPr/>
          <p:nvPr/>
        </p:nvGrpSpPr>
        <p:grpSpPr>
          <a:xfrm>
            <a:off x="215206" y="199824"/>
            <a:ext cx="1728216" cy="1728216"/>
            <a:chOff x="6287898" y="3296296"/>
            <a:chExt cx="2879702" cy="2879702"/>
          </a:xfrm>
        </p:grpSpPr>
        <p:sp>
          <p:nvSpPr>
            <p:cNvPr id="95" name="Oval 94"/>
            <p:cNvSpPr/>
            <p:nvPr/>
          </p:nvSpPr>
          <p:spPr bwMode="auto">
            <a:xfrm>
              <a:off x="6287898" y="3296296"/>
              <a:ext cx="2879702" cy="2879702"/>
            </a:xfrm>
            <a:prstGeom prst="ellipse">
              <a:avLst/>
            </a:prstGeom>
            <a:solidFill>
              <a:srgbClr val="FFFFFF"/>
            </a:solid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96" name="Group 95"/>
            <p:cNvGrpSpPr/>
            <p:nvPr/>
          </p:nvGrpSpPr>
          <p:grpSpPr>
            <a:xfrm>
              <a:off x="6915494" y="3662037"/>
              <a:ext cx="1624511" cy="2148219"/>
              <a:chOff x="6947075" y="4069887"/>
              <a:chExt cx="1628108" cy="2152976"/>
            </a:xfrm>
          </p:grpSpPr>
          <p:sp>
            <p:nvSpPr>
              <p:cNvPr id="97" name="Freeform 30"/>
              <p:cNvSpPr>
                <a:spLocks noEditPoints="1"/>
              </p:cNvSpPr>
              <p:nvPr/>
            </p:nvSpPr>
            <p:spPr bwMode="auto">
              <a:xfrm>
                <a:off x="7187502" y="4069887"/>
                <a:ext cx="1188925" cy="151280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nvGrpSpPr>
              <p:cNvPr id="98" name="Group 97"/>
              <p:cNvGrpSpPr/>
              <p:nvPr/>
            </p:nvGrpSpPr>
            <p:grpSpPr>
              <a:xfrm>
                <a:off x="6947075" y="4826289"/>
                <a:ext cx="1628108" cy="1396574"/>
                <a:chOff x="6947075" y="4910697"/>
                <a:chExt cx="1628108" cy="1396574"/>
              </a:xfrm>
            </p:grpSpPr>
            <p:grpSp>
              <p:nvGrpSpPr>
                <p:cNvPr id="99" name="Group 98"/>
                <p:cNvGrpSpPr/>
                <p:nvPr/>
              </p:nvGrpSpPr>
              <p:grpSpPr>
                <a:xfrm>
                  <a:off x="6947075" y="4910697"/>
                  <a:ext cx="1628108" cy="1396574"/>
                  <a:chOff x="3504022" y="1725284"/>
                  <a:chExt cx="1628108" cy="1396574"/>
                </a:xfrm>
                <a:solidFill>
                  <a:srgbClr val="969696"/>
                </a:solidFill>
              </p:grpSpPr>
              <p:sp>
                <p:nvSpPr>
                  <p:cNvPr id="101" name="Freeform 741"/>
                  <p:cNvSpPr>
                    <a:spLocks/>
                  </p:cNvSpPr>
                  <p:nvPr/>
                </p:nvSpPr>
                <p:spPr bwMode="auto">
                  <a:xfrm>
                    <a:off x="4055756" y="2070117"/>
                    <a:ext cx="524640" cy="105174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02" name="Oval 742"/>
                  <p:cNvSpPr>
                    <a:spLocks noChangeArrowheads="1"/>
                  </p:cNvSpPr>
                  <p:nvPr/>
                </p:nvSpPr>
                <p:spPr bwMode="auto">
                  <a:xfrm>
                    <a:off x="4161669" y="1725284"/>
                    <a:ext cx="312813" cy="315276"/>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17" name="Freeform 743"/>
                  <p:cNvSpPr>
                    <a:spLocks/>
                  </p:cNvSpPr>
                  <p:nvPr/>
                </p:nvSpPr>
                <p:spPr bwMode="auto">
                  <a:xfrm>
                    <a:off x="4691235"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21" name="Oval 744"/>
                  <p:cNvSpPr>
                    <a:spLocks noChangeArrowheads="1"/>
                  </p:cNvSpPr>
                  <p:nvPr/>
                </p:nvSpPr>
                <p:spPr bwMode="auto">
                  <a:xfrm>
                    <a:off x="4777444"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22" name="Freeform 745"/>
                  <p:cNvSpPr>
                    <a:spLocks/>
                  </p:cNvSpPr>
                  <p:nvPr/>
                </p:nvSpPr>
                <p:spPr bwMode="auto">
                  <a:xfrm>
                    <a:off x="3504022" y="2109527"/>
                    <a:ext cx="440895" cy="896566"/>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23" name="Oval 746"/>
                  <p:cNvSpPr>
                    <a:spLocks noChangeArrowheads="1"/>
                  </p:cNvSpPr>
                  <p:nvPr/>
                </p:nvSpPr>
                <p:spPr bwMode="auto">
                  <a:xfrm>
                    <a:off x="3590230" y="1813955"/>
                    <a:ext cx="268478" cy="266014"/>
                  </a:xfrm>
                  <a:prstGeom prst="ellipse">
                    <a:avLst/>
                  </a:prstGeom>
                  <a:solidFill>
                    <a:schemeClr val="bg2"/>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sp>
              <p:nvSpPr>
                <p:cNvPr id="100" name="Freeform 6"/>
                <p:cNvSpPr>
                  <a:spLocks noEditPoints="1"/>
                </p:cNvSpPr>
                <p:nvPr/>
              </p:nvSpPr>
              <p:spPr bwMode="auto">
                <a:xfrm>
                  <a:off x="7606110" y="5335509"/>
                  <a:ext cx="310038" cy="377382"/>
                </a:xfrm>
                <a:custGeom>
                  <a:avLst/>
                  <a:gdLst>
                    <a:gd name="T0" fmla="*/ 1540 w 1569"/>
                    <a:gd name="T1" fmla="*/ 791 h 1910"/>
                    <a:gd name="T2" fmla="*/ 1406 w 1569"/>
                    <a:gd name="T3" fmla="*/ 791 h 1910"/>
                    <a:gd name="T4" fmla="*/ 1406 w 1569"/>
                    <a:gd name="T5" fmla="*/ 564 h 1910"/>
                    <a:gd name="T6" fmla="*/ 784 w 1569"/>
                    <a:gd name="T7" fmla="*/ 0 h 1910"/>
                    <a:gd name="T8" fmla="*/ 163 w 1569"/>
                    <a:gd name="T9" fmla="*/ 564 h 1910"/>
                    <a:gd name="T10" fmla="*/ 163 w 1569"/>
                    <a:gd name="T11" fmla="*/ 791 h 1910"/>
                    <a:gd name="T12" fmla="*/ 28 w 1569"/>
                    <a:gd name="T13" fmla="*/ 791 h 1910"/>
                    <a:gd name="T14" fmla="*/ 0 w 1569"/>
                    <a:gd name="T15" fmla="*/ 820 h 1910"/>
                    <a:gd name="T16" fmla="*/ 0 w 1569"/>
                    <a:gd name="T17" fmla="*/ 1882 h 1910"/>
                    <a:gd name="T18" fmla="*/ 28 w 1569"/>
                    <a:gd name="T19" fmla="*/ 1910 h 1910"/>
                    <a:gd name="T20" fmla="*/ 1540 w 1569"/>
                    <a:gd name="T21" fmla="*/ 1910 h 1910"/>
                    <a:gd name="T22" fmla="*/ 1569 w 1569"/>
                    <a:gd name="T23" fmla="*/ 1882 h 1910"/>
                    <a:gd name="T24" fmla="*/ 1569 w 1569"/>
                    <a:gd name="T25" fmla="*/ 820 h 1910"/>
                    <a:gd name="T26" fmla="*/ 1540 w 1569"/>
                    <a:gd name="T27" fmla="*/ 791 h 1910"/>
                    <a:gd name="T28" fmla="*/ 842 w 1569"/>
                    <a:gd name="T29" fmla="*/ 1284 h 1910"/>
                    <a:gd name="T30" fmla="*/ 842 w 1569"/>
                    <a:gd name="T31" fmla="*/ 1592 h 1910"/>
                    <a:gd name="T32" fmla="*/ 800 w 1569"/>
                    <a:gd name="T33" fmla="*/ 1634 h 1910"/>
                    <a:gd name="T34" fmla="*/ 769 w 1569"/>
                    <a:gd name="T35" fmla="*/ 1634 h 1910"/>
                    <a:gd name="T36" fmla="*/ 727 w 1569"/>
                    <a:gd name="T37" fmla="*/ 1592 h 1910"/>
                    <a:gd name="T38" fmla="*/ 727 w 1569"/>
                    <a:gd name="T39" fmla="*/ 1284 h 1910"/>
                    <a:gd name="T40" fmla="*/ 668 w 1569"/>
                    <a:gd name="T41" fmla="*/ 1183 h 1910"/>
                    <a:gd name="T42" fmla="*/ 784 w 1569"/>
                    <a:gd name="T43" fmla="*/ 1066 h 1910"/>
                    <a:gd name="T44" fmla="*/ 901 w 1569"/>
                    <a:gd name="T45" fmla="*/ 1183 h 1910"/>
                    <a:gd name="T46" fmla="*/ 842 w 1569"/>
                    <a:gd name="T47" fmla="*/ 1284 h 1910"/>
                    <a:gd name="T48" fmla="*/ 1246 w 1569"/>
                    <a:gd name="T49" fmla="*/ 791 h 1910"/>
                    <a:gd name="T50" fmla="*/ 323 w 1569"/>
                    <a:gd name="T51" fmla="*/ 791 h 1910"/>
                    <a:gd name="T52" fmla="*/ 323 w 1569"/>
                    <a:gd name="T53" fmla="*/ 564 h 1910"/>
                    <a:gd name="T54" fmla="*/ 784 w 1569"/>
                    <a:gd name="T55" fmla="*/ 160 h 1910"/>
                    <a:gd name="T56" fmla="*/ 1246 w 1569"/>
                    <a:gd name="T57" fmla="*/ 564 h 1910"/>
                    <a:gd name="T58" fmla="*/ 1246 w 1569"/>
                    <a:gd name="T59" fmla="*/ 791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9" h="1910">
                      <a:moveTo>
                        <a:pt x="1540" y="791"/>
                      </a:moveTo>
                      <a:cubicBezTo>
                        <a:pt x="1406" y="791"/>
                        <a:pt x="1406" y="791"/>
                        <a:pt x="1406" y="791"/>
                      </a:cubicBezTo>
                      <a:cubicBezTo>
                        <a:pt x="1406" y="564"/>
                        <a:pt x="1406" y="564"/>
                        <a:pt x="1406" y="564"/>
                      </a:cubicBezTo>
                      <a:cubicBezTo>
                        <a:pt x="1406" y="253"/>
                        <a:pt x="1127" y="0"/>
                        <a:pt x="784" y="0"/>
                      </a:cubicBezTo>
                      <a:cubicBezTo>
                        <a:pt x="442" y="0"/>
                        <a:pt x="163" y="253"/>
                        <a:pt x="163" y="564"/>
                      </a:cubicBezTo>
                      <a:cubicBezTo>
                        <a:pt x="163" y="791"/>
                        <a:pt x="163" y="791"/>
                        <a:pt x="163" y="791"/>
                      </a:cubicBezTo>
                      <a:cubicBezTo>
                        <a:pt x="28" y="791"/>
                        <a:pt x="28" y="791"/>
                        <a:pt x="28" y="791"/>
                      </a:cubicBezTo>
                      <a:cubicBezTo>
                        <a:pt x="13" y="791"/>
                        <a:pt x="0" y="804"/>
                        <a:pt x="0" y="820"/>
                      </a:cubicBezTo>
                      <a:cubicBezTo>
                        <a:pt x="0" y="1882"/>
                        <a:pt x="0" y="1882"/>
                        <a:pt x="0" y="1882"/>
                      </a:cubicBezTo>
                      <a:cubicBezTo>
                        <a:pt x="0" y="1898"/>
                        <a:pt x="13" y="1910"/>
                        <a:pt x="28" y="1910"/>
                      </a:cubicBezTo>
                      <a:cubicBezTo>
                        <a:pt x="1540" y="1910"/>
                        <a:pt x="1540" y="1910"/>
                        <a:pt x="1540" y="1910"/>
                      </a:cubicBezTo>
                      <a:cubicBezTo>
                        <a:pt x="1556" y="1910"/>
                        <a:pt x="1569" y="1898"/>
                        <a:pt x="1569" y="1882"/>
                      </a:cubicBezTo>
                      <a:cubicBezTo>
                        <a:pt x="1569" y="820"/>
                        <a:pt x="1569" y="820"/>
                        <a:pt x="1569" y="820"/>
                      </a:cubicBezTo>
                      <a:cubicBezTo>
                        <a:pt x="1569" y="804"/>
                        <a:pt x="1556" y="791"/>
                        <a:pt x="1540" y="791"/>
                      </a:cubicBezTo>
                      <a:close/>
                      <a:moveTo>
                        <a:pt x="842" y="1284"/>
                      </a:moveTo>
                      <a:cubicBezTo>
                        <a:pt x="842" y="1592"/>
                        <a:pt x="842" y="1592"/>
                        <a:pt x="842" y="1592"/>
                      </a:cubicBezTo>
                      <a:cubicBezTo>
                        <a:pt x="842" y="1615"/>
                        <a:pt x="823" y="1634"/>
                        <a:pt x="800" y="1634"/>
                      </a:cubicBezTo>
                      <a:cubicBezTo>
                        <a:pt x="769" y="1634"/>
                        <a:pt x="769" y="1634"/>
                        <a:pt x="769" y="1634"/>
                      </a:cubicBezTo>
                      <a:cubicBezTo>
                        <a:pt x="746" y="1634"/>
                        <a:pt x="727" y="1615"/>
                        <a:pt x="727" y="1592"/>
                      </a:cubicBezTo>
                      <a:cubicBezTo>
                        <a:pt x="727" y="1284"/>
                        <a:pt x="727" y="1284"/>
                        <a:pt x="727" y="1284"/>
                      </a:cubicBezTo>
                      <a:cubicBezTo>
                        <a:pt x="692" y="1264"/>
                        <a:pt x="668" y="1226"/>
                        <a:pt x="668" y="1183"/>
                      </a:cubicBezTo>
                      <a:cubicBezTo>
                        <a:pt x="668" y="1118"/>
                        <a:pt x="720" y="1066"/>
                        <a:pt x="784" y="1066"/>
                      </a:cubicBezTo>
                      <a:cubicBezTo>
                        <a:pt x="849" y="1066"/>
                        <a:pt x="901" y="1118"/>
                        <a:pt x="901" y="1183"/>
                      </a:cubicBezTo>
                      <a:cubicBezTo>
                        <a:pt x="901" y="1226"/>
                        <a:pt x="877" y="1264"/>
                        <a:pt x="842" y="1284"/>
                      </a:cubicBezTo>
                      <a:close/>
                      <a:moveTo>
                        <a:pt x="1246" y="791"/>
                      </a:moveTo>
                      <a:cubicBezTo>
                        <a:pt x="323" y="791"/>
                        <a:pt x="323" y="791"/>
                        <a:pt x="323" y="791"/>
                      </a:cubicBezTo>
                      <a:cubicBezTo>
                        <a:pt x="323" y="564"/>
                        <a:pt x="323" y="564"/>
                        <a:pt x="323" y="564"/>
                      </a:cubicBezTo>
                      <a:cubicBezTo>
                        <a:pt x="323" y="341"/>
                        <a:pt x="530" y="160"/>
                        <a:pt x="784" y="160"/>
                      </a:cubicBezTo>
                      <a:cubicBezTo>
                        <a:pt x="1039" y="160"/>
                        <a:pt x="1246" y="341"/>
                        <a:pt x="1246" y="564"/>
                      </a:cubicBezTo>
                      <a:lnTo>
                        <a:pt x="1246" y="79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grpSp>
      </p:grpSp>
    </p:spTree>
    <p:extLst>
      <p:ext uri="{BB962C8B-B14F-4D97-AF65-F5344CB8AC3E}">
        <p14:creationId xmlns:p14="http://schemas.microsoft.com/office/powerpoint/2010/main" val="28470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1" nodeType="with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22" presetClass="entr" presetSubtype="8" fill="hold" grpId="0" nodeType="withEffect">
                                  <p:stCondLst>
                                    <p:cond delay="500"/>
                                  </p:stCondLst>
                                  <p:childTnLst>
                                    <p:set>
                                      <p:cBhvr>
                                        <p:cTn id="22" dur="1" fill="hold">
                                          <p:stCondLst>
                                            <p:cond delay="0"/>
                                          </p:stCondLst>
                                        </p:cTn>
                                        <p:tgtEl>
                                          <p:spTgt spid="21"/>
                                        </p:tgtEl>
                                        <p:attrNameLst>
                                          <p:attrName>style.visibility</p:attrName>
                                        </p:attrNameLst>
                                      </p:cBhvr>
                                      <p:to>
                                        <p:strVal val="visible"/>
                                      </p:to>
                                    </p:set>
                                    <p:animEffect transition="in" filter="wipe(left)">
                                      <p:cBhvr>
                                        <p:cTn id="23" dur="500"/>
                                        <p:tgtEl>
                                          <p:spTgt spid="21"/>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22" presetClass="entr" presetSubtype="8" fill="hold" grpId="0" nodeType="withEffect">
                                  <p:stCondLst>
                                    <p:cond delay="500"/>
                                  </p:stCondLst>
                                  <p:childTnLst>
                                    <p:set>
                                      <p:cBhvr>
                                        <p:cTn id="28" dur="1" fill="hold">
                                          <p:stCondLst>
                                            <p:cond delay="0"/>
                                          </p:stCondLst>
                                        </p:cTn>
                                        <p:tgtEl>
                                          <p:spTgt spid="66"/>
                                        </p:tgtEl>
                                        <p:attrNameLst>
                                          <p:attrName>style.visibility</p:attrName>
                                        </p:attrNameLst>
                                      </p:cBhvr>
                                      <p:to>
                                        <p:strVal val="visible"/>
                                      </p:to>
                                    </p:set>
                                    <p:animEffect transition="in" filter="wipe(left)">
                                      <p:cBhvr>
                                        <p:cTn id="29" dur="500"/>
                                        <p:tgtEl>
                                          <p:spTgt spid="66"/>
                                        </p:tgtEl>
                                      </p:cBhvr>
                                    </p:animEffect>
                                  </p:childTnLst>
                                </p:cTn>
                              </p:par>
                            </p:childTnLst>
                          </p:cTn>
                        </p:par>
                        <p:par>
                          <p:cTn id="30" fill="hold">
                            <p:stCondLst>
                              <p:cond delay="1000"/>
                            </p:stCondLst>
                            <p:childTnLst>
                              <p:par>
                                <p:cTn id="31" presetID="10" presetClass="entr" presetSubtype="0" fill="hold" grpId="0" nodeType="afterEffect">
                                  <p:stCondLst>
                                    <p:cond delay="25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1750"/>
                            </p:stCondLst>
                            <p:childTnLst>
                              <p:par>
                                <p:cTn id="35" presetID="10" presetClass="entr" presetSubtype="0"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par>
                          <p:cTn id="38" fill="hold">
                            <p:stCondLst>
                              <p:cond delay="2250"/>
                            </p:stCondLst>
                            <p:childTnLst>
                              <p:par>
                                <p:cTn id="39" presetID="10" presetClass="entr" presetSubtype="0" fill="hold" nodeType="after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childTnLst>
                          </p:cTn>
                        </p:par>
                        <p:par>
                          <p:cTn id="42" fill="hold">
                            <p:stCondLst>
                              <p:cond delay="2750"/>
                            </p:stCondLst>
                            <p:childTnLst>
                              <p:par>
                                <p:cTn id="43" presetID="22" presetClass="entr" presetSubtype="8" fill="hold" grpId="0"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left)">
                                      <p:cBhvr>
                                        <p:cTn id="45" dur="500"/>
                                        <p:tgtEl>
                                          <p:spTgt spid="28"/>
                                        </p:tgtEl>
                                      </p:cBhvr>
                                    </p:animEffect>
                                  </p:childTnLst>
                                </p:cTn>
                              </p:par>
                            </p:childTnLst>
                          </p:cTn>
                        </p:par>
                        <p:par>
                          <p:cTn id="46" fill="hold">
                            <p:stCondLst>
                              <p:cond delay="3250"/>
                            </p:stCondLst>
                            <p:childTnLst>
                              <p:par>
                                <p:cTn id="47" presetID="10" presetClass="entr" presetSubtype="0" fill="hold" nodeType="after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childTnLst>
                          </p:cTn>
                        </p:par>
                        <p:par>
                          <p:cTn id="50" fill="hold">
                            <p:stCondLst>
                              <p:cond delay="3750"/>
                            </p:stCondLst>
                            <p:childTnLst>
                              <p:par>
                                <p:cTn id="51" presetID="22" presetClass="entr" presetSubtype="8" fill="hold" grpId="0" nodeType="afterEffect">
                                  <p:stCondLst>
                                    <p:cond delay="0"/>
                                  </p:stCondLst>
                                  <p:childTnLst>
                                    <p:set>
                                      <p:cBhvr>
                                        <p:cTn id="52" dur="1" fill="hold">
                                          <p:stCondLst>
                                            <p:cond delay="0"/>
                                          </p:stCondLst>
                                        </p:cTn>
                                        <p:tgtEl>
                                          <p:spTgt spid="73"/>
                                        </p:tgtEl>
                                        <p:attrNameLst>
                                          <p:attrName>style.visibility</p:attrName>
                                        </p:attrNameLst>
                                      </p:cBhvr>
                                      <p:to>
                                        <p:strVal val="visible"/>
                                      </p:to>
                                    </p:set>
                                    <p:animEffect transition="in" filter="wipe(left)">
                                      <p:cBhvr>
                                        <p:cTn id="53" dur="500"/>
                                        <p:tgtEl>
                                          <p:spTgt spid="73"/>
                                        </p:tgtEl>
                                      </p:cBhvr>
                                    </p:animEffect>
                                  </p:childTnLst>
                                </p:cTn>
                              </p:par>
                            </p:childTnLst>
                          </p:cTn>
                        </p:par>
                        <p:par>
                          <p:cTn id="54" fill="hold">
                            <p:stCondLst>
                              <p:cond delay="4250"/>
                            </p:stCondLst>
                            <p:childTnLst>
                              <p:par>
                                <p:cTn id="55" presetID="53" presetClass="entr" presetSubtype="16" fill="hold" nodeType="afterEffect">
                                  <p:stCondLst>
                                    <p:cond delay="0"/>
                                  </p:stCondLst>
                                  <p:childTnLst>
                                    <p:set>
                                      <p:cBhvr>
                                        <p:cTn id="56" dur="1" fill="hold">
                                          <p:stCondLst>
                                            <p:cond delay="0"/>
                                          </p:stCondLst>
                                        </p:cTn>
                                        <p:tgtEl>
                                          <p:spTgt spid="203"/>
                                        </p:tgtEl>
                                        <p:attrNameLst>
                                          <p:attrName>style.visibility</p:attrName>
                                        </p:attrNameLst>
                                      </p:cBhvr>
                                      <p:to>
                                        <p:strVal val="visible"/>
                                      </p:to>
                                    </p:set>
                                    <p:anim calcmode="lin" valueType="num">
                                      <p:cBhvr>
                                        <p:cTn id="57" dur="250" fill="hold"/>
                                        <p:tgtEl>
                                          <p:spTgt spid="203"/>
                                        </p:tgtEl>
                                        <p:attrNameLst>
                                          <p:attrName>ppt_w</p:attrName>
                                        </p:attrNameLst>
                                      </p:cBhvr>
                                      <p:tavLst>
                                        <p:tav tm="0">
                                          <p:val>
                                            <p:fltVal val="0"/>
                                          </p:val>
                                        </p:tav>
                                        <p:tav tm="100000">
                                          <p:val>
                                            <p:strVal val="#ppt_w"/>
                                          </p:val>
                                        </p:tav>
                                      </p:tavLst>
                                    </p:anim>
                                    <p:anim calcmode="lin" valueType="num">
                                      <p:cBhvr>
                                        <p:cTn id="58" dur="250" fill="hold"/>
                                        <p:tgtEl>
                                          <p:spTgt spid="203"/>
                                        </p:tgtEl>
                                        <p:attrNameLst>
                                          <p:attrName>ppt_h</p:attrName>
                                        </p:attrNameLst>
                                      </p:cBhvr>
                                      <p:tavLst>
                                        <p:tav tm="0">
                                          <p:val>
                                            <p:fltVal val="0"/>
                                          </p:val>
                                        </p:tav>
                                        <p:tav tm="100000">
                                          <p:val>
                                            <p:strVal val="#ppt_h"/>
                                          </p:val>
                                        </p:tav>
                                      </p:tavLst>
                                    </p:anim>
                                    <p:animEffect transition="in" filter="fade">
                                      <p:cBhvr>
                                        <p:cTn id="59" dur="250"/>
                                        <p:tgtEl>
                                          <p:spTgt spid="20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500"/>
                                        <p:tgtEl>
                                          <p:spTgt spid="36"/>
                                        </p:tgtEl>
                                      </p:cBhvr>
                                    </p:animEffect>
                                  </p:childTnLst>
                                </p:cTn>
                              </p:par>
                            </p:childTnLst>
                          </p:cTn>
                        </p:par>
                        <p:par>
                          <p:cTn id="65" fill="hold">
                            <p:stCondLst>
                              <p:cond delay="500"/>
                            </p:stCondLst>
                            <p:childTnLst>
                              <p:par>
                                <p:cTn id="66" presetID="10" presetClass="entr" presetSubtype="0" fill="hold" grpId="0" nodeType="afterEffect">
                                  <p:stCondLst>
                                    <p:cond delay="0"/>
                                  </p:stCondLst>
                                  <p:childTnLst>
                                    <p:set>
                                      <p:cBhvr>
                                        <p:cTn id="67" dur="1" fill="hold">
                                          <p:stCondLst>
                                            <p:cond delay="0"/>
                                          </p:stCondLst>
                                        </p:cTn>
                                        <p:tgtEl>
                                          <p:spTgt spid="118"/>
                                        </p:tgtEl>
                                        <p:attrNameLst>
                                          <p:attrName>style.visibility</p:attrName>
                                        </p:attrNameLst>
                                      </p:cBhvr>
                                      <p:to>
                                        <p:strVal val="visible"/>
                                      </p:to>
                                    </p:set>
                                    <p:animEffect transition="in" filter="fade">
                                      <p:cBhvr>
                                        <p:cTn id="68" dur="500"/>
                                        <p:tgtEl>
                                          <p:spTgt spid="118"/>
                                        </p:tgtEl>
                                      </p:cBhvr>
                                    </p:animEffect>
                                  </p:childTnLst>
                                </p:cTn>
                              </p:par>
                              <p:par>
                                <p:cTn id="69" presetID="10" presetClass="entr" presetSubtype="0" fill="hold" grpId="0" nodeType="withEffect">
                                  <p:stCondLst>
                                    <p:cond delay="100"/>
                                  </p:stCondLst>
                                  <p:childTnLst>
                                    <p:set>
                                      <p:cBhvr>
                                        <p:cTn id="70" dur="1" fill="hold">
                                          <p:stCondLst>
                                            <p:cond delay="0"/>
                                          </p:stCondLst>
                                        </p:cTn>
                                        <p:tgtEl>
                                          <p:spTgt spid="119"/>
                                        </p:tgtEl>
                                        <p:attrNameLst>
                                          <p:attrName>style.visibility</p:attrName>
                                        </p:attrNameLst>
                                      </p:cBhvr>
                                      <p:to>
                                        <p:strVal val="visible"/>
                                      </p:to>
                                    </p:set>
                                    <p:animEffect transition="in" filter="fade">
                                      <p:cBhvr>
                                        <p:cTn id="71" dur="500"/>
                                        <p:tgtEl>
                                          <p:spTgt spid="119"/>
                                        </p:tgtEl>
                                      </p:cBhvr>
                                    </p:animEffect>
                                  </p:childTnLst>
                                </p:cTn>
                              </p:par>
                              <p:par>
                                <p:cTn id="72" presetID="10" presetClass="entr" presetSubtype="0" fill="hold" grpId="0" nodeType="withEffect">
                                  <p:stCondLst>
                                    <p:cond delay="200"/>
                                  </p:stCondLst>
                                  <p:childTnLst>
                                    <p:set>
                                      <p:cBhvr>
                                        <p:cTn id="73" dur="1" fill="hold">
                                          <p:stCondLst>
                                            <p:cond delay="0"/>
                                          </p:stCondLst>
                                        </p:cTn>
                                        <p:tgtEl>
                                          <p:spTgt spid="120"/>
                                        </p:tgtEl>
                                        <p:attrNameLst>
                                          <p:attrName>style.visibility</p:attrName>
                                        </p:attrNameLst>
                                      </p:cBhvr>
                                      <p:to>
                                        <p:strVal val="visible"/>
                                      </p:to>
                                    </p:set>
                                    <p:animEffect transition="in" filter="fade">
                                      <p:cBhvr>
                                        <p:cTn id="74" dur="500"/>
                                        <p:tgtEl>
                                          <p:spTgt spid="120"/>
                                        </p:tgtEl>
                                      </p:cBhvr>
                                    </p:animEffect>
                                  </p:childTnLst>
                                </p:cTn>
                              </p:par>
                              <p:par>
                                <p:cTn id="75" presetID="10" presetClass="exit" presetSubtype="0" fill="hold" grpId="1" nodeType="withEffect">
                                  <p:stCondLst>
                                    <p:cond delay="500"/>
                                  </p:stCondLst>
                                  <p:childTnLst>
                                    <p:animEffect transition="out" filter="fade">
                                      <p:cBhvr>
                                        <p:cTn id="76" dur="500"/>
                                        <p:tgtEl>
                                          <p:spTgt spid="118"/>
                                        </p:tgtEl>
                                      </p:cBhvr>
                                    </p:animEffect>
                                    <p:set>
                                      <p:cBhvr>
                                        <p:cTn id="77" dur="1" fill="hold">
                                          <p:stCondLst>
                                            <p:cond delay="499"/>
                                          </p:stCondLst>
                                        </p:cTn>
                                        <p:tgtEl>
                                          <p:spTgt spid="118"/>
                                        </p:tgtEl>
                                        <p:attrNameLst>
                                          <p:attrName>style.visibility</p:attrName>
                                        </p:attrNameLst>
                                      </p:cBhvr>
                                      <p:to>
                                        <p:strVal val="hidden"/>
                                      </p:to>
                                    </p:set>
                                  </p:childTnLst>
                                </p:cTn>
                              </p:par>
                              <p:par>
                                <p:cTn id="78" presetID="10" presetClass="exit" presetSubtype="0" fill="hold" grpId="1" nodeType="withEffect">
                                  <p:stCondLst>
                                    <p:cond delay="600"/>
                                  </p:stCondLst>
                                  <p:childTnLst>
                                    <p:animEffect transition="out" filter="fade">
                                      <p:cBhvr>
                                        <p:cTn id="79" dur="500"/>
                                        <p:tgtEl>
                                          <p:spTgt spid="119"/>
                                        </p:tgtEl>
                                      </p:cBhvr>
                                    </p:animEffect>
                                    <p:set>
                                      <p:cBhvr>
                                        <p:cTn id="80" dur="1" fill="hold">
                                          <p:stCondLst>
                                            <p:cond delay="499"/>
                                          </p:stCondLst>
                                        </p:cTn>
                                        <p:tgtEl>
                                          <p:spTgt spid="119"/>
                                        </p:tgtEl>
                                        <p:attrNameLst>
                                          <p:attrName>style.visibility</p:attrName>
                                        </p:attrNameLst>
                                      </p:cBhvr>
                                      <p:to>
                                        <p:strVal val="hidden"/>
                                      </p:to>
                                    </p:set>
                                  </p:childTnLst>
                                </p:cTn>
                              </p:par>
                              <p:par>
                                <p:cTn id="81" presetID="10" presetClass="exit" presetSubtype="0" fill="hold" grpId="1" nodeType="withEffect">
                                  <p:stCondLst>
                                    <p:cond delay="700"/>
                                  </p:stCondLst>
                                  <p:childTnLst>
                                    <p:animEffect transition="out" filter="fade">
                                      <p:cBhvr>
                                        <p:cTn id="82" dur="500"/>
                                        <p:tgtEl>
                                          <p:spTgt spid="120"/>
                                        </p:tgtEl>
                                      </p:cBhvr>
                                    </p:animEffect>
                                    <p:set>
                                      <p:cBhvr>
                                        <p:cTn id="83" dur="1" fill="hold">
                                          <p:stCondLst>
                                            <p:cond delay="499"/>
                                          </p:stCondLst>
                                        </p:cTn>
                                        <p:tgtEl>
                                          <p:spTgt spid="120"/>
                                        </p:tgtEl>
                                        <p:attrNameLst>
                                          <p:attrName>style.visibility</p:attrName>
                                        </p:attrNameLst>
                                      </p:cBhvr>
                                      <p:to>
                                        <p:strVal val="hidden"/>
                                      </p:to>
                                    </p:set>
                                  </p:childTnLst>
                                </p:cTn>
                              </p:par>
                            </p:childTnLst>
                          </p:cTn>
                        </p:par>
                        <p:par>
                          <p:cTn id="84" fill="hold">
                            <p:stCondLst>
                              <p:cond delay="1700"/>
                            </p:stCondLst>
                            <p:childTnLst>
                              <p:par>
                                <p:cTn id="85" presetID="53" presetClass="entr" presetSubtype="16" fill="hold" nodeType="afterEffect">
                                  <p:stCondLst>
                                    <p:cond delay="500"/>
                                  </p:stCondLst>
                                  <p:childTnLst>
                                    <p:set>
                                      <p:cBhvr>
                                        <p:cTn id="86" dur="1" fill="hold">
                                          <p:stCondLst>
                                            <p:cond delay="0"/>
                                          </p:stCondLst>
                                        </p:cTn>
                                        <p:tgtEl>
                                          <p:spTgt spid="35"/>
                                        </p:tgtEl>
                                        <p:attrNameLst>
                                          <p:attrName>style.visibility</p:attrName>
                                        </p:attrNameLst>
                                      </p:cBhvr>
                                      <p:to>
                                        <p:strVal val="visible"/>
                                      </p:to>
                                    </p:set>
                                    <p:anim calcmode="lin" valueType="num">
                                      <p:cBhvr>
                                        <p:cTn id="87" dur="500" fill="hold"/>
                                        <p:tgtEl>
                                          <p:spTgt spid="35"/>
                                        </p:tgtEl>
                                        <p:attrNameLst>
                                          <p:attrName>ppt_w</p:attrName>
                                        </p:attrNameLst>
                                      </p:cBhvr>
                                      <p:tavLst>
                                        <p:tav tm="0">
                                          <p:val>
                                            <p:fltVal val="0"/>
                                          </p:val>
                                        </p:tav>
                                        <p:tav tm="100000">
                                          <p:val>
                                            <p:strVal val="#ppt_w"/>
                                          </p:val>
                                        </p:tav>
                                      </p:tavLst>
                                    </p:anim>
                                    <p:anim calcmode="lin" valueType="num">
                                      <p:cBhvr>
                                        <p:cTn id="88" dur="500" fill="hold"/>
                                        <p:tgtEl>
                                          <p:spTgt spid="35"/>
                                        </p:tgtEl>
                                        <p:attrNameLst>
                                          <p:attrName>ppt_h</p:attrName>
                                        </p:attrNameLst>
                                      </p:cBhvr>
                                      <p:tavLst>
                                        <p:tav tm="0">
                                          <p:val>
                                            <p:fltVal val="0"/>
                                          </p:val>
                                        </p:tav>
                                        <p:tav tm="100000">
                                          <p:val>
                                            <p:strVal val="#ppt_h"/>
                                          </p:val>
                                        </p:tav>
                                      </p:tavLst>
                                    </p:anim>
                                    <p:animEffect transition="in" filter="fade">
                                      <p:cBhvr>
                                        <p:cTn id="89" dur="500"/>
                                        <p:tgtEl>
                                          <p:spTgt spid="35"/>
                                        </p:tgtEl>
                                      </p:cBhvr>
                                    </p:animEffect>
                                  </p:childTnLst>
                                </p:cTn>
                              </p:par>
                            </p:childTnLst>
                          </p:cTn>
                        </p:par>
                        <p:par>
                          <p:cTn id="90" fill="hold">
                            <p:stCondLst>
                              <p:cond delay="2700"/>
                            </p:stCondLst>
                            <p:childTnLst>
                              <p:par>
                                <p:cTn id="91" presetID="22" presetClass="entr" presetSubtype="8" fill="hold" grpId="0" nodeType="afterEffect">
                                  <p:stCondLst>
                                    <p:cond delay="1000"/>
                                  </p:stCondLst>
                                  <p:childTnLst>
                                    <p:set>
                                      <p:cBhvr>
                                        <p:cTn id="92" dur="1" fill="hold">
                                          <p:stCondLst>
                                            <p:cond delay="0"/>
                                          </p:stCondLst>
                                        </p:cTn>
                                        <p:tgtEl>
                                          <p:spTgt spid="37"/>
                                        </p:tgtEl>
                                        <p:attrNameLst>
                                          <p:attrName>style.visibility</p:attrName>
                                        </p:attrNameLst>
                                      </p:cBhvr>
                                      <p:to>
                                        <p:strVal val="visible"/>
                                      </p:to>
                                    </p:set>
                                    <p:animEffect transition="in" filter="wipe(left)">
                                      <p:cBhvr>
                                        <p:cTn id="93" dur="500"/>
                                        <p:tgtEl>
                                          <p:spTgt spid="37"/>
                                        </p:tgtEl>
                                      </p:cBhvr>
                                    </p:animEffect>
                                  </p:childTnLst>
                                </p:cTn>
                              </p:par>
                            </p:childTnLst>
                          </p:cTn>
                        </p:par>
                        <p:par>
                          <p:cTn id="94" fill="hold">
                            <p:stCondLst>
                              <p:cond delay="4200"/>
                            </p:stCondLst>
                            <p:childTnLst>
                              <p:par>
                                <p:cTn id="95" presetID="10" presetClass="entr" presetSubtype="0" fill="hold" grpId="0" nodeType="afterEffect">
                                  <p:stCondLst>
                                    <p:cond delay="250"/>
                                  </p:stCondLst>
                                  <p:childTnLst>
                                    <p:set>
                                      <p:cBhvr>
                                        <p:cTn id="96" dur="1" fill="hold">
                                          <p:stCondLst>
                                            <p:cond delay="0"/>
                                          </p:stCondLst>
                                        </p:cTn>
                                        <p:tgtEl>
                                          <p:spTgt spid="193"/>
                                        </p:tgtEl>
                                        <p:attrNameLst>
                                          <p:attrName>style.visibility</p:attrName>
                                        </p:attrNameLst>
                                      </p:cBhvr>
                                      <p:to>
                                        <p:strVal val="visible"/>
                                      </p:to>
                                    </p:set>
                                    <p:animEffect transition="in" filter="fade">
                                      <p:cBhvr>
                                        <p:cTn id="97" dur="500"/>
                                        <p:tgtEl>
                                          <p:spTgt spid="193"/>
                                        </p:tgtEl>
                                      </p:cBhvr>
                                    </p:animEffect>
                                  </p:childTnLst>
                                </p:cTn>
                              </p:par>
                              <p:par>
                                <p:cTn id="98" presetID="10" presetClass="entr" presetSubtype="0" fill="hold" grpId="0" nodeType="withEffect">
                                  <p:stCondLst>
                                    <p:cond delay="350"/>
                                  </p:stCondLst>
                                  <p:childTnLst>
                                    <p:set>
                                      <p:cBhvr>
                                        <p:cTn id="99" dur="1" fill="hold">
                                          <p:stCondLst>
                                            <p:cond delay="0"/>
                                          </p:stCondLst>
                                        </p:cTn>
                                        <p:tgtEl>
                                          <p:spTgt spid="194"/>
                                        </p:tgtEl>
                                        <p:attrNameLst>
                                          <p:attrName>style.visibility</p:attrName>
                                        </p:attrNameLst>
                                      </p:cBhvr>
                                      <p:to>
                                        <p:strVal val="visible"/>
                                      </p:to>
                                    </p:set>
                                    <p:animEffect transition="in" filter="fade">
                                      <p:cBhvr>
                                        <p:cTn id="100" dur="500"/>
                                        <p:tgtEl>
                                          <p:spTgt spid="194"/>
                                        </p:tgtEl>
                                      </p:cBhvr>
                                    </p:animEffect>
                                  </p:childTnLst>
                                </p:cTn>
                              </p:par>
                              <p:par>
                                <p:cTn id="101" presetID="10" presetClass="entr" presetSubtype="0" fill="hold" grpId="0" nodeType="withEffect">
                                  <p:stCondLst>
                                    <p:cond delay="450"/>
                                  </p:stCondLst>
                                  <p:childTnLst>
                                    <p:set>
                                      <p:cBhvr>
                                        <p:cTn id="102" dur="1" fill="hold">
                                          <p:stCondLst>
                                            <p:cond delay="0"/>
                                          </p:stCondLst>
                                        </p:cTn>
                                        <p:tgtEl>
                                          <p:spTgt spid="195"/>
                                        </p:tgtEl>
                                        <p:attrNameLst>
                                          <p:attrName>style.visibility</p:attrName>
                                        </p:attrNameLst>
                                      </p:cBhvr>
                                      <p:to>
                                        <p:strVal val="visible"/>
                                      </p:to>
                                    </p:set>
                                    <p:animEffect transition="in" filter="fade">
                                      <p:cBhvr>
                                        <p:cTn id="103" dur="500"/>
                                        <p:tgtEl>
                                          <p:spTgt spid="195"/>
                                        </p:tgtEl>
                                      </p:cBhvr>
                                    </p:animEffect>
                                  </p:childTnLst>
                                </p:cTn>
                              </p:par>
                              <p:par>
                                <p:cTn id="104" presetID="10" presetClass="exit" presetSubtype="0" fill="hold" grpId="1" nodeType="withEffect">
                                  <p:stCondLst>
                                    <p:cond delay="650"/>
                                  </p:stCondLst>
                                  <p:childTnLst>
                                    <p:animEffect transition="out" filter="fade">
                                      <p:cBhvr>
                                        <p:cTn id="105" dur="500"/>
                                        <p:tgtEl>
                                          <p:spTgt spid="193"/>
                                        </p:tgtEl>
                                      </p:cBhvr>
                                    </p:animEffect>
                                    <p:set>
                                      <p:cBhvr>
                                        <p:cTn id="106" dur="1" fill="hold">
                                          <p:stCondLst>
                                            <p:cond delay="499"/>
                                          </p:stCondLst>
                                        </p:cTn>
                                        <p:tgtEl>
                                          <p:spTgt spid="193"/>
                                        </p:tgtEl>
                                        <p:attrNameLst>
                                          <p:attrName>style.visibility</p:attrName>
                                        </p:attrNameLst>
                                      </p:cBhvr>
                                      <p:to>
                                        <p:strVal val="hidden"/>
                                      </p:to>
                                    </p:set>
                                  </p:childTnLst>
                                </p:cTn>
                              </p:par>
                              <p:par>
                                <p:cTn id="107" presetID="10" presetClass="exit" presetSubtype="0" fill="hold" grpId="1" nodeType="withEffect">
                                  <p:stCondLst>
                                    <p:cond delay="750"/>
                                  </p:stCondLst>
                                  <p:childTnLst>
                                    <p:animEffect transition="out" filter="fade">
                                      <p:cBhvr>
                                        <p:cTn id="108" dur="500"/>
                                        <p:tgtEl>
                                          <p:spTgt spid="194"/>
                                        </p:tgtEl>
                                      </p:cBhvr>
                                    </p:animEffect>
                                    <p:set>
                                      <p:cBhvr>
                                        <p:cTn id="109" dur="1" fill="hold">
                                          <p:stCondLst>
                                            <p:cond delay="499"/>
                                          </p:stCondLst>
                                        </p:cTn>
                                        <p:tgtEl>
                                          <p:spTgt spid="194"/>
                                        </p:tgtEl>
                                        <p:attrNameLst>
                                          <p:attrName>style.visibility</p:attrName>
                                        </p:attrNameLst>
                                      </p:cBhvr>
                                      <p:to>
                                        <p:strVal val="hidden"/>
                                      </p:to>
                                    </p:set>
                                  </p:childTnLst>
                                </p:cTn>
                              </p:par>
                              <p:par>
                                <p:cTn id="110" presetID="10" presetClass="exit" presetSubtype="0" fill="hold" grpId="1" nodeType="withEffect">
                                  <p:stCondLst>
                                    <p:cond delay="850"/>
                                  </p:stCondLst>
                                  <p:childTnLst>
                                    <p:animEffect transition="out" filter="fade">
                                      <p:cBhvr>
                                        <p:cTn id="111" dur="500"/>
                                        <p:tgtEl>
                                          <p:spTgt spid="195"/>
                                        </p:tgtEl>
                                      </p:cBhvr>
                                    </p:animEffect>
                                    <p:set>
                                      <p:cBhvr>
                                        <p:cTn id="112" dur="1" fill="hold">
                                          <p:stCondLst>
                                            <p:cond delay="499"/>
                                          </p:stCondLst>
                                        </p:cTn>
                                        <p:tgtEl>
                                          <p:spTgt spid="195"/>
                                        </p:tgtEl>
                                        <p:attrNameLst>
                                          <p:attrName>style.visibility</p:attrName>
                                        </p:attrNameLst>
                                      </p:cBhvr>
                                      <p:to>
                                        <p:strVal val="hidden"/>
                                      </p:to>
                                    </p:set>
                                  </p:childTnLst>
                                </p:cTn>
                              </p:par>
                            </p:childTnLst>
                          </p:cTn>
                        </p:par>
                        <p:par>
                          <p:cTn id="113" fill="hold">
                            <p:stCondLst>
                              <p:cond delay="5550"/>
                            </p:stCondLst>
                            <p:childTnLst>
                              <p:par>
                                <p:cTn id="114" presetID="10" presetClass="entr" presetSubtype="0" fill="hold" nodeType="afterEffect">
                                  <p:stCondLst>
                                    <p:cond delay="0"/>
                                  </p:stCondLst>
                                  <p:childTnLst>
                                    <p:set>
                                      <p:cBhvr>
                                        <p:cTn id="115" dur="1" fill="hold">
                                          <p:stCondLst>
                                            <p:cond delay="0"/>
                                          </p:stCondLst>
                                        </p:cTn>
                                        <p:tgtEl>
                                          <p:spTgt spid="103"/>
                                        </p:tgtEl>
                                        <p:attrNameLst>
                                          <p:attrName>style.visibility</p:attrName>
                                        </p:attrNameLst>
                                      </p:cBhvr>
                                      <p:to>
                                        <p:strVal val="visible"/>
                                      </p:to>
                                    </p:set>
                                    <p:animEffect transition="in" filter="fade">
                                      <p:cBhvr>
                                        <p:cTn id="116" dur="500"/>
                                        <p:tgtEl>
                                          <p:spTgt spid="103"/>
                                        </p:tgtEl>
                                      </p:cBhvr>
                                    </p:animEffect>
                                  </p:childTnLst>
                                </p:cTn>
                              </p:par>
                              <p:par>
                                <p:cTn id="117" presetID="10" presetClass="entr" presetSubtype="0" fill="hold" nodeType="withEffect">
                                  <p:stCondLst>
                                    <p:cond delay="0"/>
                                  </p:stCondLst>
                                  <p:childTnLst>
                                    <p:set>
                                      <p:cBhvr>
                                        <p:cTn id="118" dur="1" fill="hold">
                                          <p:stCondLst>
                                            <p:cond delay="0"/>
                                          </p:stCondLst>
                                        </p:cTn>
                                        <p:tgtEl>
                                          <p:spTgt spid="110"/>
                                        </p:tgtEl>
                                        <p:attrNameLst>
                                          <p:attrName>style.visibility</p:attrName>
                                        </p:attrNameLst>
                                      </p:cBhvr>
                                      <p:to>
                                        <p:strVal val="visible"/>
                                      </p:to>
                                    </p:set>
                                    <p:animEffect transition="in" filter="fade">
                                      <p:cBhvr>
                                        <p:cTn id="119" dur="500"/>
                                        <p:tgtEl>
                                          <p:spTgt spid="110"/>
                                        </p:tgtEl>
                                      </p:cBhvr>
                                    </p:animEffect>
                                  </p:childTnLst>
                                </p:cTn>
                              </p:par>
                            </p:childTnLst>
                          </p:cTn>
                        </p:par>
                        <p:par>
                          <p:cTn id="120" fill="hold">
                            <p:stCondLst>
                              <p:cond delay="6050"/>
                            </p:stCondLst>
                            <p:childTnLst>
                              <p:par>
                                <p:cTn id="121" presetID="10" presetClass="exit" presetSubtype="0" fill="hold" grpId="1" nodeType="afterEffect">
                                  <p:stCondLst>
                                    <p:cond delay="500"/>
                                  </p:stCondLst>
                                  <p:childTnLst>
                                    <p:animEffect transition="out" filter="fade">
                                      <p:cBhvr>
                                        <p:cTn id="122" dur="500"/>
                                        <p:tgtEl>
                                          <p:spTgt spid="13"/>
                                        </p:tgtEl>
                                      </p:cBhvr>
                                    </p:animEffect>
                                    <p:set>
                                      <p:cBhvr>
                                        <p:cTn id="123" dur="1" fill="hold">
                                          <p:stCondLst>
                                            <p:cond delay="499"/>
                                          </p:stCondLst>
                                        </p:cTn>
                                        <p:tgtEl>
                                          <p:spTgt spid="13"/>
                                        </p:tgtEl>
                                        <p:attrNameLst>
                                          <p:attrName>style.visibility</p:attrName>
                                        </p:attrNameLst>
                                      </p:cBhvr>
                                      <p:to>
                                        <p:strVal val="hidden"/>
                                      </p:to>
                                    </p:set>
                                  </p:childTnLst>
                                </p:cTn>
                              </p:par>
                              <p:par>
                                <p:cTn id="124" presetID="10" presetClass="exit" presetSubtype="0" fill="hold" nodeType="withEffect">
                                  <p:stCondLst>
                                    <p:cond delay="500"/>
                                  </p:stCondLst>
                                  <p:childTnLst>
                                    <p:animEffect transition="out" filter="fade">
                                      <p:cBhvr>
                                        <p:cTn id="125" dur="500"/>
                                        <p:tgtEl>
                                          <p:spTgt spid="203"/>
                                        </p:tgtEl>
                                      </p:cBhvr>
                                    </p:animEffect>
                                    <p:set>
                                      <p:cBhvr>
                                        <p:cTn id="126" dur="1" fill="hold">
                                          <p:stCondLst>
                                            <p:cond delay="499"/>
                                          </p:stCondLst>
                                        </p:cTn>
                                        <p:tgtEl>
                                          <p:spTgt spid="203"/>
                                        </p:tgtEl>
                                        <p:attrNameLst>
                                          <p:attrName>style.visibility</p:attrName>
                                        </p:attrNameLst>
                                      </p:cBhvr>
                                      <p:to>
                                        <p:strVal val="hidden"/>
                                      </p:to>
                                    </p:set>
                                  </p:childTnLst>
                                </p:cTn>
                              </p:par>
                              <p:par>
                                <p:cTn id="127" presetID="10" presetClass="exit" presetSubtype="0" fill="hold" nodeType="withEffect">
                                  <p:stCondLst>
                                    <p:cond delay="500"/>
                                  </p:stCondLst>
                                  <p:childTnLst>
                                    <p:animEffect transition="out" filter="fade">
                                      <p:cBhvr>
                                        <p:cTn id="128" dur="500"/>
                                        <p:tgtEl>
                                          <p:spTgt spid="33"/>
                                        </p:tgtEl>
                                      </p:cBhvr>
                                    </p:animEffect>
                                    <p:set>
                                      <p:cBhvr>
                                        <p:cTn id="129" dur="1" fill="hold">
                                          <p:stCondLst>
                                            <p:cond delay="499"/>
                                          </p:stCondLst>
                                        </p:cTn>
                                        <p:tgtEl>
                                          <p:spTgt spid="33"/>
                                        </p:tgtEl>
                                        <p:attrNameLst>
                                          <p:attrName>style.visibility</p:attrName>
                                        </p:attrNameLst>
                                      </p:cBhvr>
                                      <p:to>
                                        <p:strVal val="hidden"/>
                                      </p:to>
                                    </p:set>
                                  </p:childTnLst>
                                </p:cTn>
                              </p:par>
                              <p:par>
                                <p:cTn id="130" presetID="10" presetClass="exit" presetSubtype="0" fill="hold" grpId="1" nodeType="withEffect">
                                  <p:stCondLst>
                                    <p:cond delay="500"/>
                                  </p:stCondLst>
                                  <p:childTnLst>
                                    <p:animEffect transition="out" filter="fade">
                                      <p:cBhvr>
                                        <p:cTn id="131" dur="500"/>
                                        <p:tgtEl>
                                          <p:spTgt spid="28"/>
                                        </p:tgtEl>
                                      </p:cBhvr>
                                    </p:animEffect>
                                    <p:set>
                                      <p:cBhvr>
                                        <p:cTn id="132" dur="1" fill="hold">
                                          <p:stCondLst>
                                            <p:cond delay="499"/>
                                          </p:stCondLst>
                                        </p:cTn>
                                        <p:tgtEl>
                                          <p:spTgt spid="28"/>
                                        </p:tgtEl>
                                        <p:attrNameLst>
                                          <p:attrName>style.visibility</p:attrName>
                                        </p:attrNameLst>
                                      </p:cBhvr>
                                      <p:to>
                                        <p:strVal val="hidden"/>
                                      </p:to>
                                    </p:set>
                                  </p:childTnLst>
                                </p:cTn>
                              </p:par>
                              <p:par>
                                <p:cTn id="133" presetID="10" presetClass="exit" presetSubtype="0" fill="hold" grpId="1" nodeType="withEffect">
                                  <p:stCondLst>
                                    <p:cond delay="500"/>
                                  </p:stCondLst>
                                  <p:childTnLst>
                                    <p:animEffect transition="out" filter="fade">
                                      <p:cBhvr>
                                        <p:cTn id="134" dur="500"/>
                                        <p:tgtEl>
                                          <p:spTgt spid="21"/>
                                        </p:tgtEl>
                                      </p:cBhvr>
                                    </p:animEffect>
                                    <p:set>
                                      <p:cBhvr>
                                        <p:cTn id="135" dur="1" fill="hold">
                                          <p:stCondLst>
                                            <p:cond delay="499"/>
                                          </p:stCondLst>
                                        </p:cTn>
                                        <p:tgtEl>
                                          <p:spTgt spid="21"/>
                                        </p:tgtEl>
                                        <p:attrNameLst>
                                          <p:attrName>style.visibility</p:attrName>
                                        </p:attrNameLst>
                                      </p:cBhvr>
                                      <p:to>
                                        <p:strVal val="hidden"/>
                                      </p:to>
                                    </p:set>
                                  </p:childTnLst>
                                </p:cTn>
                              </p:par>
                              <p:par>
                                <p:cTn id="136" presetID="10" presetClass="exit" presetSubtype="0" fill="hold" grpId="0" nodeType="withEffect">
                                  <p:stCondLst>
                                    <p:cond delay="500"/>
                                  </p:stCondLst>
                                  <p:childTnLst>
                                    <p:animEffect transition="out" filter="fade">
                                      <p:cBhvr>
                                        <p:cTn id="137" dur="500"/>
                                        <p:tgtEl>
                                          <p:spTgt spid="55"/>
                                        </p:tgtEl>
                                      </p:cBhvr>
                                    </p:animEffect>
                                    <p:set>
                                      <p:cBhvr>
                                        <p:cTn id="138" dur="1" fill="hold">
                                          <p:stCondLst>
                                            <p:cond delay="499"/>
                                          </p:stCondLst>
                                        </p:cTn>
                                        <p:tgtEl>
                                          <p:spTgt spid="55"/>
                                        </p:tgtEl>
                                        <p:attrNameLst>
                                          <p:attrName>style.visibility</p:attrName>
                                        </p:attrNameLst>
                                      </p:cBhvr>
                                      <p:to>
                                        <p:strVal val="hidden"/>
                                      </p:to>
                                    </p:set>
                                  </p:childTnLst>
                                </p:cTn>
                              </p:par>
                              <p:par>
                                <p:cTn id="139" presetID="10" presetClass="exit" presetSubtype="0" fill="hold" grpId="0" nodeType="withEffect">
                                  <p:stCondLst>
                                    <p:cond delay="500"/>
                                  </p:stCondLst>
                                  <p:childTnLst>
                                    <p:animEffect transition="out" filter="fade">
                                      <p:cBhvr>
                                        <p:cTn id="140" dur="500"/>
                                        <p:tgtEl>
                                          <p:spTgt spid="54"/>
                                        </p:tgtEl>
                                      </p:cBhvr>
                                    </p:animEffect>
                                    <p:set>
                                      <p:cBhvr>
                                        <p:cTn id="141" dur="1" fill="hold">
                                          <p:stCondLst>
                                            <p:cond delay="499"/>
                                          </p:stCondLst>
                                        </p:cTn>
                                        <p:tgtEl>
                                          <p:spTgt spid="54"/>
                                        </p:tgtEl>
                                        <p:attrNameLst>
                                          <p:attrName>style.visibility</p:attrName>
                                        </p:attrNameLst>
                                      </p:cBhvr>
                                      <p:to>
                                        <p:strVal val="hidden"/>
                                      </p:to>
                                    </p:set>
                                  </p:childTnLst>
                                </p:cTn>
                              </p:par>
                              <p:par>
                                <p:cTn id="142" presetID="10" presetClass="exit" presetSubtype="0" fill="hold" grpId="1" nodeType="withEffect">
                                  <p:stCondLst>
                                    <p:cond delay="500"/>
                                  </p:stCondLst>
                                  <p:childTnLst>
                                    <p:animEffect transition="out" filter="fade">
                                      <p:cBhvr>
                                        <p:cTn id="143" dur="500"/>
                                        <p:tgtEl>
                                          <p:spTgt spid="20"/>
                                        </p:tgtEl>
                                      </p:cBhvr>
                                    </p:animEffect>
                                    <p:set>
                                      <p:cBhvr>
                                        <p:cTn id="144" dur="1" fill="hold">
                                          <p:stCondLst>
                                            <p:cond delay="499"/>
                                          </p:stCondLst>
                                        </p:cTn>
                                        <p:tgtEl>
                                          <p:spTgt spid="20"/>
                                        </p:tgtEl>
                                        <p:attrNameLst>
                                          <p:attrName>style.visibility</p:attrName>
                                        </p:attrNameLst>
                                      </p:cBhvr>
                                      <p:to>
                                        <p:strVal val="hidden"/>
                                      </p:to>
                                    </p:set>
                                  </p:childTnLst>
                                </p:cTn>
                              </p:par>
                              <p:par>
                                <p:cTn id="145" presetID="10" presetClass="exit" presetSubtype="0" fill="hold" nodeType="withEffect">
                                  <p:stCondLst>
                                    <p:cond delay="500"/>
                                  </p:stCondLst>
                                  <p:childTnLst>
                                    <p:animEffect transition="out" filter="fade">
                                      <p:cBhvr>
                                        <p:cTn id="146" dur="500"/>
                                        <p:tgtEl>
                                          <p:spTgt spid="110"/>
                                        </p:tgtEl>
                                      </p:cBhvr>
                                    </p:animEffect>
                                    <p:set>
                                      <p:cBhvr>
                                        <p:cTn id="147" dur="1" fill="hold">
                                          <p:stCondLst>
                                            <p:cond delay="499"/>
                                          </p:stCondLst>
                                        </p:cTn>
                                        <p:tgtEl>
                                          <p:spTgt spid="110"/>
                                        </p:tgtEl>
                                        <p:attrNameLst>
                                          <p:attrName>style.visibility</p:attrName>
                                        </p:attrNameLst>
                                      </p:cBhvr>
                                      <p:to>
                                        <p:strVal val="hidden"/>
                                      </p:to>
                                    </p:set>
                                  </p:childTnLst>
                                </p:cTn>
                              </p:par>
                            </p:childTnLst>
                          </p:cTn>
                        </p:par>
                        <p:par>
                          <p:cTn id="148" fill="hold">
                            <p:stCondLst>
                              <p:cond delay="7050"/>
                            </p:stCondLst>
                            <p:childTnLst>
                              <p:par>
                                <p:cTn id="149" presetID="2" presetClass="entr" presetSubtype="4" decel="100000" fill="hold" grpId="0" nodeType="afterEffect">
                                  <p:stCondLst>
                                    <p:cond delay="250"/>
                                  </p:stCondLst>
                                  <p:childTnLst>
                                    <p:set>
                                      <p:cBhvr>
                                        <p:cTn id="150" dur="1" fill="hold">
                                          <p:stCondLst>
                                            <p:cond delay="0"/>
                                          </p:stCondLst>
                                        </p:cTn>
                                        <p:tgtEl>
                                          <p:spTgt spid="39"/>
                                        </p:tgtEl>
                                        <p:attrNameLst>
                                          <p:attrName>style.visibility</p:attrName>
                                        </p:attrNameLst>
                                      </p:cBhvr>
                                      <p:to>
                                        <p:strVal val="visible"/>
                                      </p:to>
                                    </p:set>
                                    <p:anim calcmode="lin" valueType="num">
                                      <p:cBhvr additive="base">
                                        <p:cTn id="151" dur="500" fill="hold"/>
                                        <p:tgtEl>
                                          <p:spTgt spid="39"/>
                                        </p:tgtEl>
                                        <p:attrNameLst>
                                          <p:attrName>ppt_x</p:attrName>
                                        </p:attrNameLst>
                                      </p:cBhvr>
                                      <p:tavLst>
                                        <p:tav tm="0">
                                          <p:val>
                                            <p:strVal val="#ppt_x"/>
                                          </p:val>
                                        </p:tav>
                                        <p:tav tm="100000">
                                          <p:val>
                                            <p:strVal val="#ppt_x"/>
                                          </p:val>
                                        </p:tav>
                                      </p:tavLst>
                                    </p:anim>
                                    <p:anim calcmode="lin" valueType="num">
                                      <p:cBhvr additive="base">
                                        <p:cTn id="152"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5" grpId="0" animBg="1"/>
      <p:bldP spid="6" grpId="0"/>
      <p:bldP spid="22" grpId="0" animBg="1"/>
      <p:bldP spid="8" grpId="0" animBg="1"/>
      <p:bldP spid="54" grpId="0" animBg="1"/>
      <p:bldP spid="54" grpId="1" animBg="1"/>
      <p:bldP spid="20" grpId="0" animBg="1"/>
      <p:bldP spid="20" grpId="1" animBg="1"/>
      <p:bldP spid="65" grpId="0" animBg="1"/>
      <p:bldP spid="21" grpId="0" animBg="1"/>
      <p:bldP spid="21" grpId="1" animBg="1"/>
      <p:bldP spid="66" grpId="0" animBg="1"/>
      <p:bldP spid="13" grpId="0" animBg="1"/>
      <p:bldP spid="13" grpId="1" animBg="1"/>
      <p:bldP spid="23" grpId="0" animBg="1"/>
      <p:bldP spid="28" grpId="0"/>
      <p:bldP spid="28" grpId="1"/>
      <p:bldP spid="73" grpId="0"/>
      <p:bldP spid="37" grpId="0"/>
      <p:bldP spid="193" grpId="0" animBg="1"/>
      <p:bldP spid="193" grpId="1" animBg="1"/>
      <p:bldP spid="194" grpId="0" animBg="1"/>
      <p:bldP spid="194" grpId="1" animBg="1"/>
      <p:bldP spid="195" grpId="0" animBg="1"/>
      <p:bldP spid="195" grpId="1" animBg="1"/>
      <p:bldP spid="118" grpId="0" animBg="1"/>
      <p:bldP spid="118" grpId="1" animBg="1"/>
      <p:bldP spid="119" grpId="0" animBg="1"/>
      <p:bldP spid="119" grpId="1" animBg="1"/>
      <p:bldP spid="120" grpId="0" animBg="1"/>
      <p:bldP spid="120"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846638" y="1539750"/>
            <a:ext cx="7315200" cy="5232202"/>
          </a:xfrm>
        </p:spPr>
        <p:txBody>
          <a:bodyPr/>
          <a:lstStyle/>
          <a:p>
            <a:pPr marL="0" lvl="0" indent="0">
              <a:spcBef>
                <a:spcPts val="2448"/>
              </a:spcBef>
              <a:buNone/>
            </a:pPr>
            <a:r>
              <a:rPr lang="en-US" sz="3200" spc="-71" dirty="0" smtClean="0">
                <a:solidFill>
                  <a:schemeClr val="bg1"/>
                </a:solidFill>
                <a:latin typeface="Segoe UI Light"/>
              </a:rPr>
              <a:t>A stand-alone Azure </a:t>
            </a:r>
            <a:r>
              <a:rPr lang="en-US" sz="3200" spc="-71" dirty="0">
                <a:solidFill>
                  <a:schemeClr val="bg1"/>
                </a:solidFill>
                <a:latin typeface="Segoe UI Light"/>
              </a:rPr>
              <a:t>Identity and Access management </a:t>
            </a:r>
            <a:r>
              <a:rPr lang="en-US" sz="3200" spc="-71" dirty="0" smtClean="0">
                <a:solidFill>
                  <a:schemeClr val="bg1"/>
                </a:solidFill>
                <a:latin typeface="Segoe UI Light"/>
              </a:rPr>
              <a:t>service also included in Azure Active Directory Premium</a:t>
            </a:r>
            <a:endParaRPr lang="en-US" sz="3200" spc="-71" dirty="0">
              <a:solidFill>
                <a:schemeClr val="bg1"/>
              </a:solidFill>
              <a:latin typeface="Segoe UI Light"/>
            </a:endParaRPr>
          </a:p>
          <a:p>
            <a:pPr marL="0" lvl="0" indent="0">
              <a:spcBef>
                <a:spcPts val="2448"/>
              </a:spcBef>
              <a:buNone/>
            </a:pPr>
            <a:r>
              <a:rPr lang="en-US" sz="3200" spc="-71" dirty="0" smtClean="0">
                <a:solidFill>
                  <a:schemeClr val="bg1"/>
                </a:solidFill>
                <a:latin typeface="Segoe UI Light"/>
              </a:rPr>
              <a:t>Prevents </a:t>
            </a:r>
            <a:r>
              <a:rPr lang="en-US" sz="3200" spc="-71" dirty="0">
                <a:solidFill>
                  <a:schemeClr val="bg1"/>
                </a:solidFill>
                <a:latin typeface="Segoe UI Light"/>
              </a:rPr>
              <a:t>unauthorized access to both on-premises and cloud applications by providing an additional level of </a:t>
            </a:r>
            <a:r>
              <a:rPr lang="en-US" sz="3200" spc="-71" dirty="0" smtClean="0">
                <a:solidFill>
                  <a:schemeClr val="bg1"/>
                </a:solidFill>
                <a:latin typeface="Segoe UI Light"/>
              </a:rPr>
              <a:t>authentication</a:t>
            </a:r>
          </a:p>
          <a:p>
            <a:pPr marL="0" lvl="0" indent="0">
              <a:spcBef>
                <a:spcPts val="2448"/>
              </a:spcBef>
              <a:buNone/>
            </a:pPr>
            <a:r>
              <a:rPr lang="en-US" sz="3200" spc="-71" dirty="0" smtClean="0">
                <a:solidFill>
                  <a:schemeClr val="bg1"/>
                </a:solidFill>
                <a:latin typeface="Segoe UI Light"/>
              </a:rPr>
              <a:t>Trusted </a:t>
            </a:r>
            <a:r>
              <a:rPr lang="en-US" sz="3200" spc="-71" dirty="0">
                <a:solidFill>
                  <a:schemeClr val="bg1"/>
                </a:solidFill>
                <a:latin typeface="Segoe UI Light"/>
              </a:rPr>
              <a:t>by thousands of enterprises to authenticate employee, customer, and partner access.</a:t>
            </a:r>
          </a:p>
        </p:txBody>
      </p:sp>
      <p:sp useBgFill="1">
        <p:nvSpPr>
          <p:cNvPr id="2" name="Rectangle 1"/>
          <p:cNvSpPr/>
          <p:nvPr/>
        </p:nvSpPr>
        <p:spPr bwMode="auto">
          <a:xfrm>
            <a:off x="0" y="0"/>
            <a:ext cx="4922838"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 name="Freeform 128"/>
          <p:cNvSpPr>
            <a:spLocks noChangeAspect="1"/>
          </p:cNvSpPr>
          <p:nvPr/>
        </p:nvSpPr>
        <p:spPr bwMode="black">
          <a:xfrm>
            <a:off x="4056201" y="1584376"/>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 name="Freeform 128"/>
          <p:cNvSpPr>
            <a:spLocks noChangeAspect="1"/>
          </p:cNvSpPr>
          <p:nvPr/>
        </p:nvSpPr>
        <p:spPr bwMode="black">
          <a:xfrm>
            <a:off x="4056202" y="1584376"/>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solidFill>
              <a:srgbClr val="FFFFFF"/>
            </a:solid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4" name="Picture 13"/>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rot="-600000">
            <a:off x="2312846" y="2536581"/>
            <a:ext cx="599659" cy="1531475"/>
          </a:xfrm>
          <a:prstGeom prst="rect">
            <a:avLst/>
          </a:prstGeom>
        </p:spPr>
      </p:pic>
      <p:grpSp>
        <p:nvGrpSpPr>
          <p:cNvPr id="3" name="Group 2"/>
          <p:cNvGrpSpPr/>
          <p:nvPr/>
        </p:nvGrpSpPr>
        <p:grpSpPr>
          <a:xfrm>
            <a:off x="2587024" y="5231521"/>
            <a:ext cx="1878326" cy="1134366"/>
            <a:chOff x="2197330" y="5313554"/>
            <a:chExt cx="2659244" cy="1605981"/>
          </a:xfrm>
          <a:solidFill>
            <a:srgbClr val="00188F"/>
          </a:solidFill>
        </p:grpSpPr>
        <p:sp>
          <p:nvSpPr>
            <p:cNvPr id="21" name="Freeform 6"/>
            <p:cNvSpPr>
              <a:spLocks/>
            </p:cNvSpPr>
            <p:nvPr/>
          </p:nvSpPr>
          <p:spPr bwMode="auto">
            <a:xfrm>
              <a:off x="2955897" y="5313554"/>
              <a:ext cx="1900677" cy="1018116"/>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22" name="Freeform 7"/>
            <p:cNvSpPr>
              <a:spLocks/>
            </p:cNvSpPr>
            <p:nvPr userDrawn="1"/>
          </p:nvSpPr>
          <p:spPr bwMode="auto">
            <a:xfrm>
              <a:off x="2197330" y="5769364"/>
              <a:ext cx="2156374" cy="115017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
        <p:nvSpPr>
          <p:cNvPr id="20" name="Freeform 5"/>
          <p:cNvSpPr>
            <a:spLocks noEditPoints="1"/>
          </p:cNvSpPr>
          <p:nvPr/>
        </p:nvSpPr>
        <p:spPr bwMode="auto">
          <a:xfrm>
            <a:off x="769140" y="4975946"/>
            <a:ext cx="1069728" cy="1645517"/>
          </a:xfrm>
          <a:custGeom>
            <a:avLst/>
            <a:gdLst>
              <a:gd name="T0" fmla="*/ 785 w 1503"/>
              <a:gd name="T1" fmla="*/ 824 h 2312"/>
              <a:gd name="T2" fmla="*/ 998 w 1503"/>
              <a:gd name="T3" fmla="*/ 824 h 2312"/>
              <a:gd name="T4" fmla="*/ 998 w 1503"/>
              <a:gd name="T5" fmla="*/ 2312 h 2312"/>
              <a:gd name="T6" fmla="*/ 592 w 1503"/>
              <a:gd name="T7" fmla="*/ 0 h 2312"/>
              <a:gd name="T8" fmla="*/ 998 w 1503"/>
              <a:gd name="T9" fmla="*/ 664 h 2312"/>
              <a:gd name="T10" fmla="*/ 998 w 1503"/>
              <a:gd name="T11" fmla="*/ 452 h 2312"/>
              <a:gd name="T12" fmla="*/ 998 w 1503"/>
              <a:gd name="T13" fmla="*/ 664 h 2312"/>
              <a:gd name="T14" fmla="*/ 785 w 1503"/>
              <a:gd name="T15" fmla="*/ 153 h 2312"/>
              <a:gd name="T16" fmla="*/ 998 w 1503"/>
              <a:gd name="T17" fmla="*/ 365 h 2312"/>
              <a:gd name="T18" fmla="*/ 1104 w 1503"/>
              <a:gd name="T19" fmla="*/ 1861 h 2312"/>
              <a:gd name="T20" fmla="*/ 1310 w 1503"/>
              <a:gd name="T21" fmla="*/ 1861 h 2312"/>
              <a:gd name="T22" fmla="*/ 1310 w 1503"/>
              <a:gd name="T23" fmla="*/ 1562 h 2312"/>
              <a:gd name="T24" fmla="*/ 1310 w 1503"/>
              <a:gd name="T25" fmla="*/ 1355 h 2312"/>
              <a:gd name="T26" fmla="*/ 1310 w 1503"/>
              <a:gd name="T27" fmla="*/ 1562 h 2312"/>
              <a:gd name="T28" fmla="*/ 1104 w 1503"/>
              <a:gd name="T29" fmla="*/ 1050 h 2312"/>
              <a:gd name="T30" fmla="*/ 1310 w 1503"/>
              <a:gd name="T31" fmla="*/ 1262 h 2312"/>
              <a:gd name="T32" fmla="*/ 1104 w 1503"/>
              <a:gd name="T33" fmla="*/ 963 h 2312"/>
              <a:gd name="T34" fmla="*/ 1310 w 1503"/>
              <a:gd name="T35" fmla="*/ 963 h 2312"/>
              <a:gd name="T36" fmla="*/ 1310 w 1503"/>
              <a:gd name="T37" fmla="*/ 664 h 2312"/>
              <a:gd name="T38" fmla="*/ 1310 w 1503"/>
              <a:gd name="T39" fmla="*/ 452 h 2312"/>
              <a:gd name="T40" fmla="*/ 1310 w 1503"/>
              <a:gd name="T41" fmla="*/ 664 h 2312"/>
              <a:gd name="T42" fmla="*/ 1104 w 1503"/>
              <a:gd name="T43" fmla="*/ 153 h 2312"/>
              <a:gd name="T44" fmla="*/ 1310 w 1503"/>
              <a:gd name="T45" fmla="*/ 365 h 2312"/>
              <a:gd name="T46" fmla="*/ 0 w 1503"/>
              <a:gd name="T47" fmla="*/ 2312 h 2312"/>
              <a:gd name="T48" fmla="*/ 0 w 1503"/>
              <a:gd name="T49" fmla="*/ 911 h 2312"/>
              <a:gd name="T50" fmla="*/ 399 w 1503"/>
              <a:gd name="T51" fmla="*/ 2166 h 2312"/>
              <a:gd name="T52" fmla="*/ 399 w 1503"/>
              <a:gd name="T53" fmla="*/ 1954 h 2312"/>
              <a:gd name="T54" fmla="*/ 399 w 1503"/>
              <a:gd name="T55" fmla="*/ 2166 h 2312"/>
              <a:gd name="T56" fmla="*/ 193 w 1503"/>
              <a:gd name="T57" fmla="*/ 1654 h 2312"/>
              <a:gd name="T58" fmla="*/ 399 w 1503"/>
              <a:gd name="T59" fmla="*/ 1861 h 2312"/>
              <a:gd name="T60" fmla="*/ 193 w 1503"/>
              <a:gd name="T61" fmla="*/ 1562 h 2312"/>
              <a:gd name="T62" fmla="*/ 399 w 1503"/>
              <a:gd name="T63" fmla="*/ 1562 h 2312"/>
              <a:gd name="T64" fmla="*/ 399 w 1503"/>
              <a:gd name="T65" fmla="*/ 1262 h 2312"/>
              <a:gd name="T66" fmla="*/ 399 w 1503"/>
              <a:gd name="T67" fmla="*/ 1050 h 2312"/>
              <a:gd name="T68" fmla="*/ 399 w 1503"/>
              <a:gd name="T69" fmla="*/ 1262 h 2312"/>
              <a:gd name="T70" fmla="*/ 506 w 1503"/>
              <a:gd name="T71" fmla="*/ 1954 h 2312"/>
              <a:gd name="T72" fmla="*/ 718 w 1503"/>
              <a:gd name="T73" fmla="*/ 2166 h 2312"/>
              <a:gd name="T74" fmla="*/ 506 w 1503"/>
              <a:gd name="T75" fmla="*/ 1861 h 2312"/>
              <a:gd name="T76" fmla="*/ 718 w 1503"/>
              <a:gd name="T77" fmla="*/ 1861 h 2312"/>
              <a:gd name="T78" fmla="*/ 718 w 1503"/>
              <a:gd name="T79" fmla="*/ 1562 h 2312"/>
              <a:gd name="T80" fmla="*/ 718 w 1503"/>
              <a:gd name="T81" fmla="*/ 1355 h 2312"/>
              <a:gd name="T82" fmla="*/ 718 w 1503"/>
              <a:gd name="T83" fmla="*/ 1562 h 2312"/>
              <a:gd name="T84" fmla="*/ 506 w 1503"/>
              <a:gd name="T85" fmla="*/ 1050 h 2312"/>
              <a:gd name="T86" fmla="*/ 718 w 1503"/>
              <a:gd name="T87" fmla="*/ 1262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3" h="2312">
                <a:moveTo>
                  <a:pt x="592" y="0"/>
                </a:moveTo>
                <a:lnTo>
                  <a:pt x="592" y="824"/>
                </a:lnTo>
                <a:lnTo>
                  <a:pt x="785" y="824"/>
                </a:lnTo>
                <a:lnTo>
                  <a:pt x="785" y="751"/>
                </a:lnTo>
                <a:lnTo>
                  <a:pt x="998" y="751"/>
                </a:lnTo>
                <a:lnTo>
                  <a:pt x="998" y="824"/>
                </a:lnTo>
                <a:lnTo>
                  <a:pt x="998" y="911"/>
                </a:lnTo>
                <a:lnTo>
                  <a:pt x="998" y="963"/>
                </a:lnTo>
                <a:lnTo>
                  <a:pt x="998" y="2312"/>
                </a:lnTo>
                <a:lnTo>
                  <a:pt x="1503" y="2312"/>
                </a:lnTo>
                <a:lnTo>
                  <a:pt x="1503" y="0"/>
                </a:lnTo>
                <a:lnTo>
                  <a:pt x="592" y="0"/>
                </a:lnTo>
                <a:lnTo>
                  <a:pt x="592" y="0"/>
                </a:lnTo>
                <a:lnTo>
                  <a:pt x="592" y="0"/>
                </a:lnTo>
                <a:close/>
                <a:moveTo>
                  <a:pt x="998" y="664"/>
                </a:moveTo>
                <a:lnTo>
                  <a:pt x="785" y="664"/>
                </a:lnTo>
                <a:lnTo>
                  <a:pt x="785" y="452"/>
                </a:lnTo>
                <a:lnTo>
                  <a:pt x="998" y="452"/>
                </a:lnTo>
                <a:lnTo>
                  <a:pt x="998" y="664"/>
                </a:lnTo>
                <a:lnTo>
                  <a:pt x="998" y="664"/>
                </a:lnTo>
                <a:lnTo>
                  <a:pt x="998" y="664"/>
                </a:lnTo>
                <a:close/>
                <a:moveTo>
                  <a:pt x="998" y="365"/>
                </a:moveTo>
                <a:lnTo>
                  <a:pt x="785" y="365"/>
                </a:lnTo>
                <a:lnTo>
                  <a:pt x="785" y="153"/>
                </a:lnTo>
                <a:lnTo>
                  <a:pt x="998" y="153"/>
                </a:lnTo>
                <a:lnTo>
                  <a:pt x="998" y="365"/>
                </a:lnTo>
                <a:lnTo>
                  <a:pt x="998" y="365"/>
                </a:lnTo>
                <a:lnTo>
                  <a:pt x="998" y="365"/>
                </a:lnTo>
                <a:close/>
                <a:moveTo>
                  <a:pt x="1310" y="1861"/>
                </a:moveTo>
                <a:lnTo>
                  <a:pt x="1104" y="1861"/>
                </a:lnTo>
                <a:lnTo>
                  <a:pt x="1104" y="1654"/>
                </a:lnTo>
                <a:lnTo>
                  <a:pt x="1310" y="1654"/>
                </a:lnTo>
                <a:lnTo>
                  <a:pt x="1310" y="1861"/>
                </a:lnTo>
                <a:lnTo>
                  <a:pt x="1310" y="1861"/>
                </a:lnTo>
                <a:lnTo>
                  <a:pt x="1310" y="1861"/>
                </a:lnTo>
                <a:close/>
                <a:moveTo>
                  <a:pt x="1310" y="1562"/>
                </a:moveTo>
                <a:lnTo>
                  <a:pt x="1104" y="1562"/>
                </a:lnTo>
                <a:lnTo>
                  <a:pt x="1104" y="1355"/>
                </a:lnTo>
                <a:lnTo>
                  <a:pt x="1310" y="1355"/>
                </a:lnTo>
                <a:lnTo>
                  <a:pt x="1310" y="1562"/>
                </a:lnTo>
                <a:lnTo>
                  <a:pt x="1310" y="1562"/>
                </a:lnTo>
                <a:lnTo>
                  <a:pt x="1310" y="1562"/>
                </a:lnTo>
                <a:close/>
                <a:moveTo>
                  <a:pt x="1310" y="1262"/>
                </a:moveTo>
                <a:lnTo>
                  <a:pt x="1104" y="1262"/>
                </a:lnTo>
                <a:lnTo>
                  <a:pt x="1104" y="1050"/>
                </a:lnTo>
                <a:lnTo>
                  <a:pt x="1310" y="1050"/>
                </a:lnTo>
                <a:lnTo>
                  <a:pt x="1310" y="1262"/>
                </a:lnTo>
                <a:lnTo>
                  <a:pt x="1310" y="1262"/>
                </a:lnTo>
                <a:lnTo>
                  <a:pt x="1310" y="1262"/>
                </a:lnTo>
                <a:close/>
                <a:moveTo>
                  <a:pt x="1310" y="963"/>
                </a:moveTo>
                <a:lnTo>
                  <a:pt x="1104" y="963"/>
                </a:lnTo>
                <a:lnTo>
                  <a:pt x="1104" y="751"/>
                </a:lnTo>
                <a:lnTo>
                  <a:pt x="1310" y="751"/>
                </a:lnTo>
                <a:lnTo>
                  <a:pt x="1310" y="963"/>
                </a:lnTo>
                <a:lnTo>
                  <a:pt x="1310" y="963"/>
                </a:lnTo>
                <a:lnTo>
                  <a:pt x="1310" y="963"/>
                </a:lnTo>
                <a:close/>
                <a:moveTo>
                  <a:pt x="1310" y="664"/>
                </a:moveTo>
                <a:lnTo>
                  <a:pt x="1104" y="664"/>
                </a:lnTo>
                <a:lnTo>
                  <a:pt x="1104" y="452"/>
                </a:lnTo>
                <a:lnTo>
                  <a:pt x="1310" y="452"/>
                </a:lnTo>
                <a:lnTo>
                  <a:pt x="1310" y="664"/>
                </a:lnTo>
                <a:lnTo>
                  <a:pt x="1310" y="664"/>
                </a:lnTo>
                <a:lnTo>
                  <a:pt x="1310" y="664"/>
                </a:lnTo>
                <a:close/>
                <a:moveTo>
                  <a:pt x="1310" y="365"/>
                </a:moveTo>
                <a:lnTo>
                  <a:pt x="1104" y="365"/>
                </a:lnTo>
                <a:lnTo>
                  <a:pt x="1104" y="153"/>
                </a:lnTo>
                <a:lnTo>
                  <a:pt x="1310" y="153"/>
                </a:lnTo>
                <a:lnTo>
                  <a:pt x="1310" y="365"/>
                </a:lnTo>
                <a:lnTo>
                  <a:pt x="1310" y="365"/>
                </a:lnTo>
                <a:lnTo>
                  <a:pt x="1310" y="365"/>
                </a:lnTo>
                <a:close/>
                <a:moveTo>
                  <a:pt x="0" y="911"/>
                </a:moveTo>
                <a:lnTo>
                  <a:pt x="0" y="2312"/>
                </a:lnTo>
                <a:lnTo>
                  <a:pt x="911" y="2312"/>
                </a:lnTo>
                <a:lnTo>
                  <a:pt x="911" y="911"/>
                </a:lnTo>
                <a:lnTo>
                  <a:pt x="0" y="911"/>
                </a:lnTo>
                <a:lnTo>
                  <a:pt x="0" y="911"/>
                </a:lnTo>
                <a:lnTo>
                  <a:pt x="0" y="911"/>
                </a:lnTo>
                <a:close/>
                <a:moveTo>
                  <a:pt x="399" y="2166"/>
                </a:moveTo>
                <a:lnTo>
                  <a:pt x="193" y="2166"/>
                </a:lnTo>
                <a:lnTo>
                  <a:pt x="193" y="1954"/>
                </a:lnTo>
                <a:lnTo>
                  <a:pt x="399" y="1954"/>
                </a:lnTo>
                <a:lnTo>
                  <a:pt x="399" y="2166"/>
                </a:lnTo>
                <a:lnTo>
                  <a:pt x="399" y="2166"/>
                </a:lnTo>
                <a:lnTo>
                  <a:pt x="399" y="2166"/>
                </a:lnTo>
                <a:close/>
                <a:moveTo>
                  <a:pt x="399" y="1861"/>
                </a:moveTo>
                <a:lnTo>
                  <a:pt x="193" y="1861"/>
                </a:lnTo>
                <a:lnTo>
                  <a:pt x="193" y="1654"/>
                </a:lnTo>
                <a:lnTo>
                  <a:pt x="399" y="1654"/>
                </a:lnTo>
                <a:lnTo>
                  <a:pt x="399" y="1861"/>
                </a:lnTo>
                <a:lnTo>
                  <a:pt x="399" y="1861"/>
                </a:lnTo>
                <a:lnTo>
                  <a:pt x="399" y="1861"/>
                </a:lnTo>
                <a:close/>
                <a:moveTo>
                  <a:pt x="399" y="1562"/>
                </a:moveTo>
                <a:lnTo>
                  <a:pt x="193" y="1562"/>
                </a:lnTo>
                <a:lnTo>
                  <a:pt x="193" y="1355"/>
                </a:lnTo>
                <a:lnTo>
                  <a:pt x="399" y="1355"/>
                </a:lnTo>
                <a:lnTo>
                  <a:pt x="399" y="1562"/>
                </a:lnTo>
                <a:lnTo>
                  <a:pt x="399" y="1562"/>
                </a:lnTo>
                <a:lnTo>
                  <a:pt x="399" y="1562"/>
                </a:lnTo>
                <a:close/>
                <a:moveTo>
                  <a:pt x="399" y="1262"/>
                </a:moveTo>
                <a:lnTo>
                  <a:pt x="193" y="1262"/>
                </a:lnTo>
                <a:lnTo>
                  <a:pt x="193" y="1050"/>
                </a:lnTo>
                <a:lnTo>
                  <a:pt x="399" y="1050"/>
                </a:lnTo>
                <a:lnTo>
                  <a:pt x="399" y="1262"/>
                </a:lnTo>
                <a:lnTo>
                  <a:pt x="399" y="1262"/>
                </a:lnTo>
                <a:lnTo>
                  <a:pt x="399" y="1262"/>
                </a:lnTo>
                <a:close/>
                <a:moveTo>
                  <a:pt x="718" y="2166"/>
                </a:moveTo>
                <a:lnTo>
                  <a:pt x="506" y="2166"/>
                </a:lnTo>
                <a:lnTo>
                  <a:pt x="506" y="1954"/>
                </a:lnTo>
                <a:lnTo>
                  <a:pt x="718" y="1954"/>
                </a:lnTo>
                <a:lnTo>
                  <a:pt x="718" y="2166"/>
                </a:lnTo>
                <a:lnTo>
                  <a:pt x="718" y="2166"/>
                </a:lnTo>
                <a:lnTo>
                  <a:pt x="718" y="2166"/>
                </a:lnTo>
                <a:close/>
                <a:moveTo>
                  <a:pt x="718" y="1861"/>
                </a:moveTo>
                <a:lnTo>
                  <a:pt x="506" y="1861"/>
                </a:lnTo>
                <a:lnTo>
                  <a:pt x="506" y="1654"/>
                </a:lnTo>
                <a:lnTo>
                  <a:pt x="718" y="1654"/>
                </a:lnTo>
                <a:lnTo>
                  <a:pt x="718" y="1861"/>
                </a:lnTo>
                <a:lnTo>
                  <a:pt x="718" y="1861"/>
                </a:lnTo>
                <a:lnTo>
                  <a:pt x="718" y="1861"/>
                </a:lnTo>
                <a:close/>
                <a:moveTo>
                  <a:pt x="718" y="1562"/>
                </a:moveTo>
                <a:lnTo>
                  <a:pt x="506" y="1562"/>
                </a:lnTo>
                <a:lnTo>
                  <a:pt x="506" y="1355"/>
                </a:lnTo>
                <a:lnTo>
                  <a:pt x="718" y="1355"/>
                </a:lnTo>
                <a:lnTo>
                  <a:pt x="718" y="1562"/>
                </a:lnTo>
                <a:lnTo>
                  <a:pt x="718" y="1562"/>
                </a:lnTo>
                <a:lnTo>
                  <a:pt x="718" y="1562"/>
                </a:lnTo>
                <a:close/>
                <a:moveTo>
                  <a:pt x="718" y="1262"/>
                </a:moveTo>
                <a:lnTo>
                  <a:pt x="506" y="1262"/>
                </a:lnTo>
                <a:lnTo>
                  <a:pt x="506" y="1050"/>
                </a:lnTo>
                <a:lnTo>
                  <a:pt x="718" y="1050"/>
                </a:lnTo>
                <a:lnTo>
                  <a:pt x="718" y="1262"/>
                </a:lnTo>
                <a:lnTo>
                  <a:pt x="718" y="1262"/>
                </a:lnTo>
                <a:lnTo>
                  <a:pt x="718" y="12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5" name="Title 4"/>
          <p:cNvSpPr>
            <a:spLocks noGrp="1"/>
          </p:cNvSpPr>
          <p:nvPr>
            <p:ph type="title"/>
          </p:nvPr>
        </p:nvSpPr>
        <p:spPr/>
        <p:txBody>
          <a:bodyPr/>
          <a:lstStyle/>
          <a:p>
            <a:r>
              <a:rPr lang="en-US" sz="4000" dirty="0" smtClean="0">
                <a:gradFill>
                  <a:gsLst>
                    <a:gs pos="6195">
                      <a:schemeClr val="bg2"/>
                    </a:gs>
                    <a:gs pos="100000">
                      <a:schemeClr val="bg2"/>
                    </a:gs>
                  </a:gsLst>
                  <a:lin ang="5400000" scaled="0"/>
                </a:gradFill>
              </a:rPr>
              <a:t>What is Azure Multi-Factor Authentication?</a:t>
            </a:r>
            <a:endParaRPr lang="en-US" sz="4000" dirty="0">
              <a:gradFill>
                <a:gsLst>
                  <a:gs pos="6195">
                    <a:schemeClr val="bg2"/>
                  </a:gs>
                  <a:gs pos="100000">
                    <a:schemeClr val="bg2"/>
                  </a:gs>
                </a:gsLst>
                <a:lin ang="5400000" scaled="0"/>
              </a:gradFill>
            </a:endParaRPr>
          </a:p>
        </p:txBody>
      </p:sp>
    </p:spTree>
    <p:extLst>
      <p:ext uri="{BB962C8B-B14F-4D97-AF65-F5344CB8AC3E}">
        <p14:creationId xmlns:p14="http://schemas.microsoft.com/office/powerpoint/2010/main" val="213211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1.24585E-6 4.49841E-6 L -0.27572 0.07376 " pathEditMode="relative" rAng="0" ptsTypes="AA">
                                      <p:cBhvr>
                                        <p:cTn id="6" dur="700" fill="hold"/>
                                        <p:tgtEl>
                                          <p:spTgt spid="16"/>
                                        </p:tgtEl>
                                        <p:attrNameLst>
                                          <p:attrName>ppt_x</p:attrName>
                                          <p:attrName>ppt_y</p:attrName>
                                        </p:attrNameLst>
                                      </p:cBhvr>
                                      <p:rCtr x="-13786" y="3677"/>
                                    </p:animMotion>
                                  </p:childTnLst>
                                </p:cTn>
                              </p:par>
                              <p:par>
                                <p:cTn id="7" presetID="6" presetClass="emph" presetSubtype="0" decel="100000" fill="hold" grpId="0" nodeType="withEffect">
                                  <p:stCondLst>
                                    <p:cond delay="0"/>
                                  </p:stCondLst>
                                  <p:childTnLst>
                                    <p:animScale>
                                      <p:cBhvr>
                                        <p:cTn id="8" dur="700" fill="hold"/>
                                        <p:tgtEl>
                                          <p:spTgt spid="15"/>
                                        </p:tgtEl>
                                      </p:cBhvr>
                                      <p:by x="85000" y="85000"/>
                                    </p:animScale>
                                  </p:childTnLst>
                                </p:cTn>
                              </p:par>
                              <p:par>
                                <p:cTn id="9" presetID="42" presetClass="path" presetSubtype="0" decel="100000" fill="hold" grpId="1" nodeType="withEffect">
                                  <p:stCondLst>
                                    <p:cond delay="0"/>
                                  </p:stCondLst>
                                  <p:childTnLst>
                                    <p:animMotion origin="layout" path="M 1.24585E-6 4.49841E-6 L -0.33572 -0.03927 " pathEditMode="relative" rAng="0" ptsTypes="AA">
                                      <p:cBhvr>
                                        <p:cTn id="10" dur="700" fill="hold"/>
                                        <p:tgtEl>
                                          <p:spTgt spid="15"/>
                                        </p:tgtEl>
                                        <p:attrNameLst>
                                          <p:attrName>ppt_x</p:attrName>
                                          <p:attrName>ppt_y</p:attrName>
                                        </p:attrNameLst>
                                      </p:cBhvr>
                                      <p:rCtr x="-16786" y="-1975"/>
                                    </p:animMotion>
                                  </p:childTnLst>
                                </p:cTn>
                              </p:par>
                            </p:childTnLst>
                          </p:cTn>
                        </p:par>
                        <p:par>
                          <p:cTn id="11" fill="hold">
                            <p:stCondLst>
                              <p:cond delay="700"/>
                            </p:stCondLst>
                            <p:childTnLst>
                              <p:par>
                                <p:cTn id="12" presetID="53" presetClass="entr" presetSubtype="16"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250" fill="hold"/>
                                        <p:tgtEl>
                                          <p:spTgt spid="14"/>
                                        </p:tgtEl>
                                        <p:attrNameLst>
                                          <p:attrName>ppt_w</p:attrName>
                                        </p:attrNameLst>
                                      </p:cBhvr>
                                      <p:tavLst>
                                        <p:tav tm="0">
                                          <p:val>
                                            <p:fltVal val="0"/>
                                          </p:val>
                                        </p:tav>
                                        <p:tav tm="100000">
                                          <p:val>
                                            <p:strVal val="#ppt_w"/>
                                          </p:val>
                                        </p:tav>
                                      </p:tavLst>
                                    </p:anim>
                                    <p:anim calcmode="lin" valueType="num">
                                      <p:cBhvr>
                                        <p:cTn id="15" dur="250" fill="hold"/>
                                        <p:tgtEl>
                                          <p:spTgt spid="14"/>
                                        </p:tgtEl>
                                        <p:attrNameLst>
                                          <p:attrName>ppt_h</p:attrName>
                                        </p:attrNameLst>
                                      </p:cBhvr>
                                      <p:tavLst>
                                        <p:tav tm="0">
                                          <p:val>
                                            <p:fltVal val="0"/>
                                          </p:val>
                                        </p:tav>
                                        <p:tav tm="100000">
                                          <p:val>
                                            <p:strVal val="#ppt_h"/>
                                          </p:val>
                                        </p:tav>
                                      </p:tavLst>
                                    </p:anim>
                                    <p:animEffect transition="in" filter="fade">
                                      <p:cBhvr>
                                        <p:cTn id="16" dur="250"/>
                                        <p:tgtEl>
                                          <p:spTgt spid="14"/>
                                        </p:tgtEl>
                                      </p:cBhvr>
                                    </p:animEffect>
                                  </p:childTnLst>
                                </p:cTn>
                              </p:par>
                              <p:par>
                                <p:cTn id="17" presetID="6" presetClass="emph" presetSubtype="0" decel="100000" fill="hold" nodeType="withEffect">
                                  <p:stCondLst>
                                    <p:cond delay="200"/>
                                  </p:stCondLst>
                                  <p:childTnLst>
                                    <p:animScale>
                                      <p:cBhvr>
                                        <p:cTn id="18" dur="250" fill="hold"/>
                                        <p:tgtEl>
                                          <p:spTgt spid="14"/>
                                        </p:tgtEl>
                                      </p:cBhvr>
                                      <p:by x="110000" y="110000"/>
                                    </p:animScale>
                                  </p:childTnLst>
                                </p:cTn>
                              </p:par>
                              <p:par>
                                <p:cTn id="19" presetID="6" presetClass="emph" presetSubtype="0" decel="100000" fill="hold" nodeType="withEffect">
                                  <p:stCondLst>
                                    <p:cond delay="300"/>
                                  </p:stCondLst>
                                  <p:childTnLst>
                                    <p:animScale>
                                      <p:cBhvr>
                                        <p:cTn id="20" dur="250" fill="hold"/>
                                        <p:tgtEl>
                                          <p:spTgt spid="14"/>
                                        </p:tgtEl>
                                      </p:cBhvr>
                                      <p:by x="91000" y="91000"/>
                                    </p:animScale>
                                  </p:childTnLst>
                                </p:cTn>
                              </p:par>
                            </p:childTnLst>
                          </p:cTn>
                        </p:par>
                        <p:par>
                          <p:cTn id="21" fill="hold">
                            <p:stCondLst>
                              <p:cond delay="1250"/>
                            </p:stCondLst>
                            <p:childTnLst>
                              <p:par>
                                <p:cTn id="22" presetID="2" presetClass="entr" presetSubtype="4" decel="10000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 calcmode="lin" valueType="num">
                                      <p:cBhvr additive="base">
                                        <p:cTn id="24" dur="500" fill="hold"/>
                                        <p:tgtEl>
                                          <p:spTgt spid="20"/>
                                        </p:tgtEl>
                                        <p:attrNameLst>
                                          <p:attrName>ppt_x</p:attrName>
                                        </p:attrNameLst>
                                      </p:cBhvr>
                                      <p:tavLst>
                                        <p:tav tm="0">
                                          <p:val>
                                            <p:strVal val="#ppt_x"/>
                                          </p:val>
                                        </p:tav>
                                        <p:tav tm="100000">
                                          <p:val>
                                            <p:strVal val="#ppt_x"/>
                                          </p:val>
                                        </p:tav>
                                      </p:tavLst>
                                    </p:anim>
                                    <p:anim calcmode="lin" valueType="num">
                                      <p:cBhvr additive="base">
                                        <p:cTn id="25" dur="500" fill="hold"/>
                                        <p:tgtEl>
                                          <p:spTgt spid="20"/>
                                        </p:tgtEl>
                                        <p:attrNameLst>
                                          <p:attrName>ppt_y</p:attrName>
                                        </p:attrNameLst>
                                      </p:cBhvr>
                                      <p:tavLst>
                                        <p:tav tm="0">
                                          <p:val>
                                            <p:strVal val="1+#ppt_h/2"/>
                                          </p:val>
                                        </p:tav>
                                        <p:tav tm="100000">
                                          <p:val>
                                            <p:strVal val="#ppt_y"/>
                                          </p:val>
                                        </p:tav>
                                      </p:tavLst>
                                    </p:anim>
                                  </p:childTnLst>
                                </p:cTn>
                              </p:par>
                              <p:par>
                                <p:cTn id="26" presetID="2" presetClass="entr" presetSubtype="4" decel="10000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500" fill="hold"/>
                                        <p:tgtEl>
                                          <p:spTgt spid="3"/>
                                        </p:tgtEl>
                                        <p:attrNameLst>
                                          <p:attrName>ppt_x</p:attrName>
                                        </p:attrNameLst>
                                      </p:cBhvr>
                                      <p:tavLst>
                                        <p:tav tm="0">
                                          <p:val>
                                            <p:strVal val="#ppt_x"/>
                                          </p:val>
                                        </p:tav>
                                        <p:tav tm="100000">
                                          <p:val>
                                            <p:strVal val="#ppt_x"/>
                                          </p:val>
                                        </p:tav>
                                      </p:tavLst>
                                    </p:anim>
                                    <p:anim calcmode="lin" valueType="num">
                                      <p:cBhvr additive="base">
                                        <p:cTn id="29" dur="500" fill="hold"/>
                                        <p:tgtEl>
                                          <p:spTgt spid="3"/>
                                        </p:tgtEl>
                                        <p:attrNameLst>
                                          <p:attrName>ppt_y</p:attrName>
                                        </p:attrNameLst>
                                      </p:cBhvr>
                                      <p:tavLst>
                                        <p:tav tm="0">
                                          <p:val>
                                            <p:strVal val="1+#ppt_h/2"/>
                                          </p:val>
                                        </p:tav>
                                        <p:tav tm="100000">
                                          <p:val>
                                            <p:strVal val="#ppt_y"/>
                                          </p:val>
                                        </p:tav>
                                      </p:tavLst>
                                    </p:anim>
                                  </p:childTnLst>
                                </p:cTn>
                              </p:par>
                            </p:childTnLst>
                          </p:cTn>
                        </p:par>
                        <p:par>
                          <p:cTn id="30" fill="hold">
                            <p:stCondLst>
                              <p:cond delay="1750"/>
                            </p:stCondLst>
                            <p:childTnLst>
                              <p:par>
                                <p:cTn id="31" presetID="2" presetClass="entr" presetSubtype="8" decel="100000" fill="hold" grpId="0" nodeType="afterEffect">
                                  <p:stCondLst>
                                    <p:cond delay="0"/>
                                  </p:stCondLst>
                                  <p:childTnLst>
                                    <p:set>
                                      <p:cBhvr>
                                        <p:cTn id="32" dur="1" fill="hold">
                                          <p:stCondLst>
                                            <p:cond delay="0"/>
                                          </p:stCondLst>
                                        </p:cTn>
                                        <p:tgtEl>
                                          <p:spTgt spid="6">
                                            <p:txEl>
                                              <p:pRg st="0" end="0"/>
                                            </p:txEl>
                                          </p:spTgt>
                                        </p:tgtEl>
                                        <p:attrNameLst>
                                          <p:attrName>style.visibility</p:attrName>
                                        </p:attrNameLst>
                                      </p:cBhvr>
                                      <p:to>
                                        <p:strVal val="visible"/>
                                      </p:to>
                                    </p:set>
                                    <p:anim calcmode="lin" valueType="num">
                                      <p:cBhvr additive="base">
                                        <p:cTn id="33"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34" dur="9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par>
                          <p:cTn id="35" fill="hold">
                            <p:stCondLst>
                              <p:cond delay="2650"/>
                            </p:stCondLst>
                            <p:childTnLst>
                              <p:par>
                                <p:cTn id="36" presetID="2" presetClass="entr" presetSubtype="8" decel="100000" fill="hold" grpId="0" nodeType="afterEffect">
                                  <p:stCondLst>
                                    <p:cond delay="0"/>
                                  </p:stCondLst>
                                  <p:childTnLst>
                                    <p:set>
                                      <p:cBhvr>
                                        <p:cTn id="37" dur="1" fill="hold">
                                          <p:stCondLst>
                                            <p:cond delay="0"/>
                                          </p:stCondLst>
                                        </p:cTn>
                                        <p:tgtEl>
                                          <p:spTgt spid="6">
                                            <p:txEl>
                                              <p:pRg st="1" end="1"/>
                                            </p:txEl>
                                          </p:spTgt>
                                        </p:tgtEl>
                                        <p:attrNameLst>
                                          <p:attrName>style.visibility</p:attrName>
                                        </p:attrNameLst>
                                      </p:cBhvr>
                                      <p:to>
                                        <p:strVal val="visible"/>
                                      </p:to>
                                    </p:set>
                                    <p:anim calcmode="lin" valueType="num">
                                      <p:cBhvr additive="base">
                                        <p:cTn id="38"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9" dur="9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par>
                          <p:cTn id="40" fill="hold">
                            <p:stCondLst>
                              <p:cond delay="3550"/>
                            </p:stCondLst>
                            <p:childTnLst>
                              <p:par>
                                <p:cTn id="41" presetID="2" presetClass="entr" presetSubtype="8" decel="100000" fill="hold" grpId="0" nodeType="afterEffect">
                                  <p:stCondLst>
                                    <p:cond delay="0"/>
                                  </p:stCondLst>
                                  <p:childTnLst>
                                    <p:set>
                                      <p:cBhvr>
                                        <p:cTn id="42" dur="1" fill="hold">
                                          <p:stCondLst>
                                            <p:cond delay="0"/>
                                          </p:stCondLst>
                                        </p:cTn>
                                        <p:tgtEl>
                                          <p:spTgt spid="6">
                                            <p:txEl>
                                              <p:pRg st="2" end="2"/>
                                            </p:txEl>
                                          </p:spTgt>
                                        </p:tgtEl>
                                        <p:attrNameLst>
                                          <p:attrName>style.visibility</p:attrName>
                                        </p:attrNameLst>
                                      </p:cBhvr>
                                      <p:to>
                                        <p:strVal val="visible"/>
                                      </p:to>
                                    </p:set>
                                    <p:anim calcmode="lin" valueType="num">
                                      <p:cBhvr additive="base">
                                        <p:cTn id="43"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4"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5" grpId="0" animBg="1"/>
      <p:bldP spid="15" grpId="1" animBg="1"/>
      <p:bldP spid="16" grpId="0" animBg="1"/>
      <p:bldP spid="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gradFill>
                  <a:gsLst>
                    <a:gs pos="6195">
                      <a:schemeClr val="bg2"/>
                    </a:gs>
                    <a:gs pos="100000">
                      <a:schemeClr val="bg2"/>
                    </a:gs>
                  </a:gsLst>
                  <a:lin ang="5400000" scaled="0"/>
                </a:gradFill>
              </a:rPr>
              <a:t>How It Works</a:t>
            </a:r>
            <a:endParaRPr lang="en-US" sz="4000" dirty="0">
              <a:gradFill>
                <a:gsLst>
                  <a:gs pos="6195">
                    <a:schemeClr val="bg2"/>
                  </a:gs>
                  <a:gs pos="100000">
                    <a:schemeClr val="bg2"/>
                  </a:gs>
                </a:gsLst>
                <a:lin ang="5400000" scaled="0"/>
              </a:gradFill>
            </a:endParaRPr>
          </a:p>
        </p:txBody>
      </p:sp>
      <p:grpSp>
        <p:nvGrpSpPr>
          <p:cNvPr id="8" name="Group 7"/>
          <p:cNvGrpSpPr/>
          <p:nvPr/>
        </p:nvGrpSpPr>
        <p:grpSpPr>
          <a:xfrm>
            <a:off x="274638" y="1904509"/>
            <a:ext cx="3886200" cy="3886200"/>
            <a:chOff x="274638" y="1904509"/>
            <a:chExt cx="3886200" cy="3886200"/>
          </a:xfrm>
        </p:grpSpPr>
        <p:sp>
          <p:nvSpPr>
            <p:cNvPr id="4" name="Rectangle 3"/>
            <p:cNvSpPr/>
            <p:nvPr/>
          </p:nvSpPr>
          <p:spPr bwMode="auto">
            <a:xfrm>
              <a:off x="274638" y="1904509"/>
              <a:ext cx="3886200" cy="3886200"/>
            </a:xfrm>
            <a:prstGeom prst="rect">
              <a:avLst/>
            </a:prstGeom>
            <a:no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51028" fontAlgn="base">
                <a:spcBef>
                  <a:spcPct val="0"/>
                </a:spcBef>
                <a:spcAft>
                  <a:spcPct val="0"/>
                </a:spcAft>
              </a:pPr>
              <a:r>
                <a:rPr lang="en-US" sz="4000" dirty="0">
                  <a:gradFill>
                    <a:gsLst>
                      <a:gs pos="0">
                        <a:srgbClr val="008272"/>
                      </a:gs>
                      <a:gs pos="100000">
                        <a:srgbClr val="008272"/>
                      </a:gs>
                    </a:gsLst>
                    <a:lin ang="5400000" scaled="0"/>
                  </a:gradFill>
                  <a:latin typeface="Segoe UI Light"/>
                </a:rPr>
                <a:t>Mobile </a:t>
              </a:r>
              <a:r>
                <a:rPr lang="en-US" sz="4000" dirty="0" smtClean="0">
                  <a:gradFill>
                    <a:gsLst>
                      <a:gs pos="0">
                        <a:srgbClr val="008272"/>
                      </a:gs>
                      <a:gs pos="100000">
                        <a:srgbClr val="008272"/>
                      </a:gs>
                    </a:gsLst>
                    <a:lin ang="5400000" scaled="0"/>
                  </a:gradFill>
                  <a:latin typeface="Segoe UI Light"/>
                </a:rPr>
                <a:t>apps</a:t>
              </a:r>
              <a:endParaRPr lang="en-US" sz="4000" dirty="0">
                <a:gradFill>
                  <a:gsLst>
                    <a:gs pos="0">
                      <a:srgbClr val="008272"/>
                    </a:gs>
                    <a:gs pos="100000">
                      <a:srgbClr val="008272"/>
                    </a:gs>
                  </a:gsLst>
                  <a:lin ang="5400000" scaled="0"/>
                </a:gradFill>
                <a:latin typeface="Segoe UI Light"/>
              </a:endParaRPr>
            </a:p>
          </p:txBody>
        </p:sp>
        <p:sp>
          <p:nvSpPr>
            <p:cNvPr id="36" name="Freeform 19"/>
            <p:cNvSpPr>
              <a:spLocks noEditPoints="1"/>
            </p:cNvSpPr>
            <p:nvPr/>
          </p:nvSpPr>
          <p:spPr bwMode="auto">
            <a:xfrm>
              <a:off x="1654572" y="3408218"/>
              <a:ext cx="1126332" cy="2155948"/>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5" name="Group 14"/>
          <p:cNvGrpSpPr/>
          <p:nvPr/>
        </p:nvGrpSpPr>
        <p:grpSpPr>
          <a:xfrm>
            <a:off x="4294188" y="1904509"/>
            <a:ext cx="3886200" cy="3886200"/>
            <a:chOff x="4294188" y="1904509"/>
            <a:chExt cx="3886200" cy="3886200"/>
          </a:xfrm>
        </p:grpSpPr>
        <p:sp>
          <p:nvSpPr>
            <p:cNvPr id="5" name="Rectangle 4"/>
            <p:cNvSpPr/>
            <p:nvPr/>
          </p:nvSpPr>
          <p:spPr bwMode="auto">
            <a:xfrm>
              <a:off x="4294188" y="1904509"/>
              <a:ext cx="3886200" cy="3886200"/>
            </a:xfrm>
            <a:prstGeom prst="rect">
              <a:avLst/>
            </a:prstGeom>
            <a:solidFill>
              <a:schemeClr val="tx1"/>
            </a:solid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51028" fontAlgn="base">
                <a:spcBef>
                  <a:spcPct val="0"/>
                </a:spcBef>
                <a:spcAft>
                  <a:spcPct val="0"/>
                </a:spcAft>
              </a:pPr>
              <a:r>
                <a:rPr lang="en-US" sz="4000" dirty="0">
                  <a:gradFill>
                    <a:gsLst>
                      <a:gs pos="0">
                        <a:srgbClr val="008272"/>
                      </a:gs>
                      <a:gs pos="100000">
                        <a:srgbClr val="008272"/>
                      </a:gs>
                    </a:gsLst>
                    <a:lin ang="5400000" scaled="0"/>
                  </a:gradFill>
                  <a:latin typeface="Segoe UI Light"/>
                </a:rPr>
                <a:t>Phone </a:t>
              </a:r>
              <a:r>
                <a:rPr lang="en-US" sz="4000" dirty="0" smtClean="0">
                  <a:gradFill>
                    <a:gsLst>
                      <a:gs pos="0">
                        <a:srgbClr val="008272"/>
                      </a:gs>
                      <a:gs pos="100000">
                        <a:srgbClr val="008272"/>
                      </a:gs>
                    </a:gsLst>
                    <a:lin ang="5400000" scaled="0"/>
                  </a:gradFill>
                  <a:latin typeface="Segoe UI Light"/>
                </a:rPr>
                <a:t>calls</a:t>
              </a:r>
              <a:endParaRPr lang="en-US" sz="4000" dirty="0">
                <a:gradFill>
                  <a:gsLst>
                    <a:gs pos="0">
                      <a:srgbClr val="008272"/>
                    </a:gs>
                    <a:gs pos="100000">
                      <a:srgbClr val="008272"/>
                    </a:gs>
                  </a:gsLst>
                  <a:lin ang="5400000" scaled="0"/>
                </a:gradFill>
                <a:latin typeface="Segoe UI Light"/>
              </a:endParaRPr>
            </a:p>
          </p:txBody>
        </p:sp>
        <p:sp>
          <p:nvSpPr>
            <p:cNvPr id="37" name="Freeform 19"/>
            <p:cNvSpPr>
              <a:spLocks noEditPoints="1"/>
            </p:cNvSpPr>
            <p:nvPr/>
          </p:nvSpPr>
          <p:spPr bwMode="auto">
            <a:xfrm>
              <a:off x="5674866" y="3411064"/>
              <a:ext cx="1124845" cy="2153102"/>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47" name="Group 46"/>
          <p:cNvGrpSpPr/>
          <p:nvPr/>
        </p:nvGrpSpPr>
        <p:grpSpPr>
          <a:xfrm>
            <a:off x="5823287" y="3625328"/>
            <a:ext cx="834193" cy="1606257"/>
            <a:chOff x="7158168" y="4000263"/>
            <a:chExt cx="672875" cy="1295637"/>
          </a:xfrm>
        </p:grpSpPr>
        <p:sp>
          <p:nvSpPr>
            <p:cNvPr id="44" name="Rectangle 43"/>
            <p:cNvSpPr/>
            <p:nvPr/>
          </p:nvSpPr>
          <p:spPr bwMode="auto">
            <a:xfrm>
              <a:off x="7158168" y="4000263"/>
              <a:ext cx="672875" cy="129563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1" name="Freeform 13"/>
            <p:cNvSpPr>
              <a:spLocks/>
            </p:cNvSpPr>
            <p:nvPr/>
          </p:nvSpPr>
          <p:spPr bwMode="auto">
            <a:xfrm>
              <a:off x="7273333" y="4452029"/>
              <a:ext cx="407126" cy="406627"/>
            </a:xfrm>
            <a:custGeom>
              <a:avLst/>
              <a:gdLst>
                <a:gd name="T0" fmla="*/ 1465 w 1803"/>
                <a:gd name="T1" fmla="*/ 1093 h 1802"/>
                <a:gd name="T2" fmla="*/ 1803 w 1803"/>
                <a:gd name="T3" fmla="*/ 1385 h 1802"/>
                <a:gd name="T4" fmla="*/ 1375 w 1803"/>
                <a:gd name="T5" fmla="*/ 1802 h 1802"/>
                <a:gd name="T6" fmla="*/ 0 w 1803"/>
                <a:gd name="T7" fmla="*/ 417 h 1802"/>
                <a:gd name="T8" fmla="*/ 406 w 1803"/>
                <a:gd name="T9" fmla="*/ 0 h 1802"/>
                <a:gd name="T10" fmla="*/ 699 w 1803"/>
                <a:gd name="T11" fmla="*/ 327 h 1802"/>
                <a:gd name="T12" fmla="*/ 620 w 1803"/>
                <a:gd name="T13" fmla="*/ 631 h 1802"/>
                <a:gd name="T14" fmla="*/ 699 w 1803"/>
                <a:gd name="T15" fmla="*/ 856 h 1802"/>
                <a:gd name="T16" fmla="*/ 845 w 1803"/>
                <a:gd name="T17" fmla="*/ 1025 h 1802"/>
                <a:gd name="T18" fmla="*/ 1127 w 1803"/>
                <a:gd name="T19" fmla="*/ 1171 h 1802"/>
                <a:gd name="T20" fmla="*/ 1465 w 1803"/>
                <a:gd name="T21" fmla="*/ 1093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3" h="1802">
                  <a:moveTo>
                    <a:pt x="1465" y="1093"/>
                  </a:moveTo>
                  <a:cubicBezTo>
                    <a:pt x="1803" y="1385"/>
                    <a:pt x="1803" y="1385"/>
                    <a:pt x="1803" y="1385"/>
                  </a:cubicBezTo>
                  <a:cubicBezTo>
                    <a:pt x="1736" y="1588"/>
                    <a:pt x="1612" y="1701"/>
                    <a:pt x="1375" y="1802"/>
                  </a:cubicBezTo>
                  <a:cubicBezTo>
                    <a:pt x="845" y="1577"/>
                    <a:pt x="214" y="957"/>
                    <a:pt x="0" y="417"/>
                  </a:cubicBezTo>
                  <a:cubicBezTo>
                    <a:pt x="90" y="169"/>
                    <a:pt x="192" y="57"/>
                    <a:pt x="406" y="0"/>
                  </a:cubicBezTo>
                  <a:cubicBezTo>
                    <a:pt x="699" y="327"/>
                    <a:pt x="699" y="327"/>
                    <a:pt x="699" y="327"/>
                  </a:cubicBezTo>
                  <a:cubicBezTo>
                    <a:pt x="620" y="631"/>
                    <a:pt x="620" y="631"/>
                    <a:pt x="620" y="631"/>
                  </a:cubicBezTo>
                  <a:cubicBezTo>
                    <a:pt x="620" y="710"/>
                    <a:pt x="654" y="800"/>
                    <a:pt x="699" y="856"/>
                  </a:cubicBezTo>
                  <a:cubicBezTo>
                    <a:pt x="721" y="879"/>
                    <a:pt x="767" y="946"/>
                    <a:pt x="845" y="1025"/>
                  </a:cubicBezTo>
                  <a:cubicBezTo>
                    <a:pt x="958" y="1126"/>
                    <a:pt x="1037" y="1171"/>
                    <a:pt x="1127" y="1171"/>
                  </a:cubicBezTo>
                  <a:cubicBezTo>
                    <a:pt x="1161" y="1171"/>
                    <a:pt x="1274" y="1149"/>
                    <a:pt x="1465" y="109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6" name="Group 15"/>
          <p:cNvGrpSpPr/>
          <p:nvPr/>
        </p:nvGrpSpPr>
        <p:grpSpPr>
          <a:xfrm>
            <a:off x="8313738" y="1904509"/>
            <a:ext cx="3886200" cy="3886200"/>
            <a:chOff x="8313738" y="1904509"/>
            <a:chExt cx="3886200" cy="3886200"/>
          </a:xfrm>
        </p:grpSpPr>
        <p:sp>
          <p:nvSpPr>
            <p:cNvPr id="6" name="Rectangle 5"/>
            <p:cNvSpPr/>
            <p:nvPr/>
          </p:nvSpPr>
          <p:spPr bwMode="auto">
            <a:xfrm>
              <a:off x="8313738" y="1904509"/>
              <a:ext cx="3886200" cy="3886200"/>
            </a:xfrm>
            <a:prstGeom prst="rect">
              <a:avLst/>
            </a:prstGeom>
            <a:solidFill>
              <a:schemeClr val="tx1"/>
            </a:solidFill>
            <a:ln w="38100" cap="sq">
              <a:solidFill>
                <a:schemeClr val="bg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51028" fontAlgn="base">
                <a:spcBef>
                  <a:spcPct val="0"/>
                </a:spcBef>
                <a:spcAft>
                  <a:spcPct val="0"/>
                </a:spcAft>
              </a:pPr>
              <a:r>
                <a:rPr lang="en-US" sz="4000" dirty="0">
                  <a:gradFill>
                    <a:gsLst>
                      <a:gs pos="0">
                        <a:srgbClr val="008272"/>
                      </a:gs>
                      <a:gs pos="100000">
                        <a:srgbClr val="008272"/>
                      </a:gs>
                    </a:gsLst>
                    <a:lin ang="5400000" scaled="0"/>
                  </a:gradFill>
                  <a:latin typeface="Segoe UI Light"/>
                </a:rPr>
                <a:t>Text </a:t>
              </a:r>
              <a:r>
                <a:rPr lang="en-US" sz="4000" dirty="0" smtClean="0">
                  <a:gradFill>
                    <a:gsLst>
                      <a:gs pos="0">
                        <a:srgbClr val="008272"/>
                      </a:gs>
                      <a:gs pos="100000">
                        <a:srgbClr val="008272"/>
                      </a:gs>
                    </a:gsLst>
                    <a:lin ang="5400000" scaled="0"/>
                  </a:gradFill>
                  <a:latin typeface="Segoe UI Light"/>
                </a:rPr>
                <a:t>messages</a:t>
              </a:r>
              <a:endParaRPr lang="en-US" sz="4000" dirty="0">
                <a:gradFill>
                  <a:gsLst>
                    <a:gs pos="0">
                      <a:srgbClr val="008272"/>
                    </a:gs>
                    <a:gs pos="100000">
                      <a:srgbClr val="008272"/>
                    </a:gs>
                  </a:gsLst>
                  <a:lin ang="5400000" scaled="0"/>
                </a:gradFill>
                <a:latin typeface="Segoe UI Light"/>
              </a:endParaRPr>
            </a:p>
          </p:txBody>
        </p:sp>
        <p:sp>
          <p:nvSpPr>
            <p:cNvPr id="38" name="Freeform 19"/>
            <p:cNvSpPr>
              <a:spLocks noEditPoints="1"/>
            </p:cNvSpPr>
            <p:nvPr/>
          </p:nvSpPr>
          <p:spPr bwMode="auto">
            <a:xfrm>
              <a:off x="9693672" y="3408218"/>
              <a:ext cx="1126332" cy="2155948"/>
            </a:xfrm>
            <a:custGeom>
              <a:avLst/>
              <a:gdLst>
                <a:gd name="T0" fmla="*/ 1104 w 1184"/>
                <a:gd name="T1" fmla="*/ 0 h 2267"/>
                <a:gd name="T2" fmla="*/ 74 w 1184"/>
                <a:gd name="T3" fmla="*/ 0 h 2267"/>
                <a:gd name="T4" fmla="*/ 0 w 1184"/>
                <a:gd name="T5" fmla="*/ 79 h 2267"/>
                <a:gd name="T6" fmla="*/ 0 w 1184"/>
                <a:gd name="T7" fmla="*/ 2193 h 2267"/>
                <a:gd name="T8" fmla="*/ 74 w 1184"/>
                <a:gd name="T9" fmla="*/ 2267 h 2267"/>
                <a:gd name="T10" fmla="*/ 1104 w 1184"/>
                <a:gd name="T11" fmla="*/ 2267 h 2267"/>
                <a:gd name="T12" fmla="*/ 1184 w 1184"/>
                <a:gd name="T13" fmla="*/ 2193 h 2267"/>
                <a:gd name="T14" fmla="*/ 1184 w 1184"/>
                <a:gd name="T15" fmla="*/ 79 h 2267"/>
                <a:gd name="T16" fmla="*/ 1104 w 1184"/>
                <a:gd name="T17" fmla="*/ 0 h 2267"/>
                <a:gd name="T18" fmla="*/ 580 w 1184"/>
                <a:gd name="T19" fmla="*/ 2163 h 2267"/>
                <a:gd name="T20" fmla="*/ 531 w 1184"/>
                <a:gd name="T21" fmla="*/ 2157 h 2267"/>
                <a:gd name="T22" fmla="*/ 531 w 1184"/>
                <a:gd name="T23" fmla="*/ 2114 h 2267"/>
                <a:gd name="T24" fmla="*/ 580 w 1184"/>
                <a:gd name="T25" fmla="*/ 2114 h 2267"/>
                <a:gd name="T26" fmla="*/ 580 w 1184"/>
                <a:gd name="T27" fmla="*/ 2163 h 2267"/>
                <a:gd name="T28" fmla="*/ 580 w 1184"/>
                <a:gd name="T29" fmla="*/ 2163 h 2267"/>
                <a:gd name="T30" fmla="*/ 580 w 1184"/>
                <a:gd name="T31" fmla="*/ 2108 h 2267"/>
                <a:gd name="T32" fmla="*/ 531 w 1184"/>
                <a:gd name="T33" fmla="*/ 2108 h 2267"/>
                <a:gd name="T34" fmla="*/ 531 w 1184"/>
                <a:gd name="T35" fmla="*/ 2065 h 2267"/>
                <a:gd name="T36" fmla="*/ 580 w 1184"/>
                <a:gd name="T37" fmla="*/ 2059 h 2267"/>
                <a:gd name="T38" fmla="*/ 580 w 1184"/>
                <a:gd name="T39" fmla="*/ 2108 h 2267"/>
                <a:gd name="T40" fmla="*/ 580 w 1184"/>
                <a:gd name="T41" fmla="*/ 2108 h 2267"/>
                <a:gd name="T42" fmla="*/ 654 w 1184"/>
                <a:gd name="T43" fmla="*/ 2175 h 2267"/>
                <a:gd name="T44" fmla="*/ 586 w 1184"/>
                <a:gd name="T45" fmla="*/ 2163 h 2267"/>
                <a:gd name="T46" fmla="*/ 586 w 1184"/>
                <a:gd name="T47" fmla="*/ 2114 h 2267"/>
                <a:gd name="T48" fmla="*/ 654 w 1184"/>
                <a:gd name="T49" fmla="*/ 2114 h 2267"/>
                <a:gd name="T50" fmla="*/ 654 w 1184"/>
                <a:gd name="T51" fmla="*/ 2175 h 2267"/>
                <a:gd name="T52" fmla="*/ 654 w 1184"/>
                <a:gd name="T53" fmla="*/ 2175 h 2267"/>
                <a:gd name="T54" fmla="*/ 654 w 1184"/>
                <a:gd name="T55" fmla="*/ 2108 h 2267"/>
                <a:gd name="T56" fmla="*/ 586 w 1184"/>
                <a:gd name="T57" fmla="*/ 2108 h 2267"/>
                <a:gd name="T58" fmla="*/ 586 w 1184"/>
                <a:gd name="T59" fmla="*/ 2059 h 2267"/>
                <a:gd name="T60" fmla="*/ 654 w 1184"/>
                <a:gd name="T61" fmla="*/ 2046 h 2267"/>
                <a:gd name="T62" fmla="*/ 654 w 1184"/>
                <a:gd name="T63" fmla="*/ 2108 h 2267"/>
                <a:gd name="T64" fmla="*/ 654 w 1184"/>
                <a:gd name="T65" fmla="*/ 2108 h 2267"/>
                <a:gd name="T66" fmla="*/ 1080 w 1184"/>
                <a:gd name="T67" fmla="*/ 1961 h 2267"/>
                <a:gd name="T68" fmla="*/ 111 w 1184"/>
                <a:gd name="T69" fmla="*/ 1961 h 2267"/>
                <a:gd name="T70" fmla="*/ 111 w 1184"/>
                <a:gd name="T71" fmla="*/ 184 h 2267"/>
                <a:gd name="T72" fmla="*/ 1080 w 1184"/>
                <a:gd name="T73" fmla="*/ 184 h 2267"/>
                <a:gd name="T74" fmla="*/ 1080 w 1184"/>
                <a:gd name="T75" fmla="*/ 1961 h 2267"/>
                <a:gd name="T76" fmla="*/ 1080 w 1184"/>
                <a:gd name="T77" fmla="*/ 1961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4" h="2267">
                  <a:moveTo>
                    <a:pt x="1104" y="0"/>
                  </a:moveTo>
                  <a:cubicBezTo>
                    <a:pt x="74" y="0"/>
                    <a:pt x="74" y="0"/>
                    <a:pt x="74" y="0"/>
                  </a:cubicBezTo>
                  <a:cubicBezTo>
                    <a:pt x="31" y="0"/>
                    <a:pt x="0" y="36"/>
                    <a:pt x="0" y="79"/>
                  </a:cubicBezTo>
                  <a:cubicBezTo>
                    <a:pt x="0" y="2193"/>
                    <a:pt x="0" y="2193"/>
                    <a:pt x="0" y="2193"/>
                  </a:cubicBezTo>
                  <a:cubicBezTo>
                    <a:pt x="0" y="2230"/>
                    <a:pt x="31" y="2267"/>
                    <a:pt x="74" y="2267"/>
                  </a:cubicBezTo>
                  <a:cubicBezTo>
                    <a:pt x="1104" y="2267"/>
                    <a:pt x="1104" y="2267"/>
                    <a:pt x="1104" y="2267"/>
                  </a:cubicBezTo>
                  <a:cubicBezTo>
                    <a:pt x="1153" y="2267"/>
                    <a:pt x="1184" y="2230"/>
                    <a:pt x="1184" y="2193"/>
                  </a:cubicBezTo>
                  <a:cubicBezTo>
                    <a:pt x="1184" y="79"/>
                    <a:pt x="1184" y="79"/>
                    <a:pt x="1184" y="79"/>
                  </a:cubicBezTo>
                  <a:cubicBezTo>
                    <a:pt x="1184" y="36"/>
                    <a:pt x="1153" y="0"/>
                    <a:pt x="1104" y="0"/>
                  </a:cubicBezTo>
                  <a:close/>
                  <a:moveTo>
                    <a:pt x="580" y="2163"/>
                  </a:moveTo>
                  <a:cubicBezTo>
                    <a:pt x="531" y="2157"/>
                    <a:pt x="531" y="2157"/>
                    <a:pt x="531" y="2157"/>
                  </a:cubicBezTo>
                  <a:cubicBezTo>
                    <a:pt x="531" y="2114"/>
                    <a:pt x="531" y="2114"/>
                    <a:pt x="531" y="2114"/>
                  </a:cubicBezTo>
                  <a:cubicBezTo>
                    <a:pt x="580" y="2114"/>
                    <a:pt x="580" y="2114"/>
                    <a:pt x="580" y="2114"/>
                  </a:cubicBezTo>
                  <a:cubicBezTo>
                    <a:pt x="580" y="2163"/>
                    <a:pt x="580" y="2163"/>
                    <a:pt x="580" y="2163"/>
                  </a:cubicBezTo>
                  <a:cubicBezTo>
                    <a:pt x="580" y="2163"/>
                    <a:pt x="580" y="2163"/>
                    <a:pt x="580" y="2163"/>
                  </a:cubicBezTo>
                  <a:close/>
                  <a:moveTo>
                    <a:pt x="580" y="2108"/>
                  </a:moveTo>
                  <a:cubicBezTo>
                    <a:pt x="531" y="2108"/>
                    <a:pt x="531" y="2108"/>
                    <a:pt x="531" y="2108"/>
                  </a:cubicBezTo>
                  <a:cubicBezTo>
                    <a:pt x="531" y="2065"/>
                    <a:pt x="531" y="2065"/>
                    <a:pt x="531" y="2065"/>
                  </a:cubicBezTo>
                  <a:cubicBezTo>
                    <a:pt x="580" y="2059"/>
                    <a:pt x="580" y="2059"/>
                    <a:pt x="580" y="2059"/>
                  </a:cubicBezTo>
                  <a:cubicBezTo>
                    <a:pt x="580" y="2108"/>
                    <a:pt x="580" y="2108"/>
                    <a:pt x="580" y="2108"/>
                  </a:cubicBezTo>
                  <a:cubicBezTo>
                    <a:pt x="580" y="2108"/>
                    <a:pt x="580" y="2108"/>
                    <a:pt x="580" y="2108"/>
                  </a:cubicBezTo>
                  <a:close/>
                  <a:moveTo>
                    <a:pt x="654" y="2175"/>
                  </a:moveTo>
                  <a:cubicBezTo>
                    <a:pt x="586" y="2163"/>
                    <a:pt x="586" y="2163"/>
                    <a:pt x="586" y="2163"/>
                  </a:cubicBezTo>
                  <a:cubicBezTo>
                    <a:pt x="586" y="2114"/>
                    <a:pt x="586" y="2114"/>
                    <a:pt x="586" y="2114"/>
                  </a:cubicBezTo>
                  <a:cubicBezTo>
                    <a:pt x="654" y="2114"/>
                    <a:pt x="654" y="2114"/>
                    <a:pt x="654" y="2114"/>
                  </a:cubicBezTo>
                  <a:cubicBezTo>
                    <a:pt x="654" y="2175"/>
                    <a:pt x="654" y="2175"/>
                    <a:pt x="654" y="2175"/>
                  </a:cubicBezTo>
                  <a:cubicBezTo>
                    <a:pt x="654" y="2175"/>
                    <a:pt x="654" y="2175"/>
                    <a:pt x="654" y="2175"/>
                  </a:cubicBezTo>
                  <a:close/>
                  <a:moveTo>
                    <a:pt x="654" y="2108"/>
                  </a:moveTo>
                  <a:cubicBezTo>
                    <a:pt x="586" y="2108"/>
                    <a:pt x="586" y="2108"/>
                    <a:pt x="586" y="2108"/>
                  </a:cubicBezTo>
                  <a:cubicBezTo>
                    <a:pt x="586" y="2059"/>
                    <a:pt x="586" y="2059"/>
                    <a:pt x="586" y="2059"/>
                  </a:cubicBezTo>
                  <a:cubicBezTo>
                    <a:pt x="654" y="2046"/>
                    <a:pt x="654" y="2046"/>
                    <a:pt x="654" y="2046"/>
                  </a:cubicBezTo>
                  <a:cubicBezTo>
                    <a:pt x="654" y="2108"/>
                    <a:pt x="654" y="2108"/>
                    <a:pt x="654" y="2108"/>
                  </a:cubicBezTo>
                  <a:cubicBezTo>
                    <a:pt x="654" y="2108"/>
                    <a:pt x="654" y="2108"/>
                    <a:pt x="654" y="2108"/>
                  </a:cubicBezTo>
                  <a:close/>
                  <a:moveTo>
                    <a:pt x="1080" y="1961"/>
                  </a:moveTo>
                  <a:cubicBezTo>
                    <a:pt x="111" y="1961"/>
                    <a:pt x="111" y="1961"/>
                    <a:pt x="111" y="1961"/>
                  </a:cubicBezTo>
                  <a:cubicBezTo>
                    <a:pt x="111" y="355"/>
                    <a:pt x="111" y="184"/>
                    <a:pt x="111" y="184"/>
                  </a:cubicBezTo>
                  <a:cubicBezTo>
                    <a:pt x="1080" y="184"/>
                    <a:pt x="1080" y="184"/>
                    <a:pt x="1080" y="184"/>
                  </a:cubicBezTo>
                  <a:cubicBezTo>
                    <a:pt x="1080" y="1961"/>
                    <a:pt x="1080" y="1961"/>
                    <a:pt x="1080" y="1961"/>
                  </a:cubicBezTo>
                  <a:cubicBezTo>
                    <a:pt x="1080" y="1961"/>
                    <a:pt x="1080" y="1961"/>
                    <a:pt x="1080" y="1961"/>
                  </a:cubicBez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61" name="Rectangle 60"/>
          <p:cNvSpPr/>
          <p:nvPr/>
        </p:nvSpPr>
        <p:spPr bwMode="auto">
          <a:xfrm>
            <a:off x="9837821" y="3625865"/>
            <a:ext cx="846221" cy="160838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50" name="Group 49"/>
          <p:cNvGrpSpPr/>
          <p:nvPr/>
        </p:nvGrpSpPr>
        <p:grpSpPr>
          <a:xfrm>
            <a:off x="9893829" y="4187526"/>
            <a:ext cx="734205" cy="485059"/>
            <a:chOff x="11226697" y="4229245"/>
            <a:chExt cx="591441" cy="390741"/>
          </a:xfrm>
          <a:solidFill>
            <a:schemeClr val="bg1">
              <a:lumMod val="20000"/>
              <a:lumOff val="80000"/>
            </a:schemeClr>
          </a:solidFill>
        </p:grpSpPr>
        <p:sp>
          <p:nvSpPr>
            <p:cNvPr id="92" name="Rectangular Callout 91"/>
            <p:cNvSpPr/>
            <p:nvPr/>
          </p:nvSpPr>
          <p:spPr bwMode="auto">
            <a:xfrm>
              <a:off x="11226697" y="4229245"/>
              <a:ext cx="591441" cy="390741"/>
            </a:xfrm>
            <a:prstGeom prst="wedgeRectCallout">
              <a:avLst>
                <a:gd name="adj1" fmla="val -33249"/>
                <a:gd name="adj2" fmla="val 70168"/>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0" name="Rectangle 9"/>
            <p:cNvSpPr/>
            <p:nvPr/>
          </p:nvSpPr>
          <p:spPr bwMode="auto">
            <a:xfrm>
              <a:off x="11293817" y="436748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2" name="Rectangle 61"/>
            <p:cNvSpPr/>
            <p:nvPr/>
          </p:nvSpPr>
          <p:spPr bwMode="auto">
            <a:xfrm>
              <a:off x="11293817" y="440941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3" name="Rectangle 62"/>
            <p:cNvSpPr/>
            <p:nvPr/>
          </p:nvSpPr>
          <p:spPr bwMode="auto">
            <a:xfrm>
              <a:off x="11293817" y="445135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4" name="Rectangle 63"/>
            <p:cNvSpPr/>
            <p:nvPr/>
          </p:nvSpPr>
          <p:spPr bwMode="auto">
            <a:xfrm>
              <a:off x="11293817" y="449328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5" name="Rectangle 64"/>
            <p:cNvSpPr/>
            <p:nvPr/>
          </p:nvSpPr>
          <p:spPr bwMode="auto">
            <a:xfrm>
              <a:off x="11293817" y="4535225"/>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7" name="Rectangle 66"/>
            <p:cNvSpPr/>
            <p:nvPr/>
          </p:nvSpPr>
          <p:spPr bwMode="auto">
            <a:xfrm>
              <a:off x="11293817" y="428361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9" name="Rectangle 68"/>
            <p:cNvSpPr/>
            <p:nvPr/>
          </p:nvSpPr>
          <p:spPr bwMode="auto">
            <a:xfrm>
              <a:off x="11293817" y="432554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46" name="Freeform 14"/>
          <p:cNvSpPr>
            <a:spLocks/>
          </p:cNvSpPr>
          <p:nvPr/>
        </p:nvSpPr>
        <p:spPr bwMode="auto">
          <a:xfrm>
            <a:off x="6216943" y="4272140"/>
            <a:ext cx="181631" cy="149846"/>
          </a:xfrm>
          <a:custGeom>
            <a:avLst/>
            <a:gdLst>
              <a:gd name="T0" fmla="*/ 34 w 530"/>
              <a:gd name="T1" fmla="*/ 0 h 439"/>
              <a:gd name="T2" fmla="*/ 0 w 530"/>
              <a:gd name="T3" fmla="*/ 34 h 439"/>
              <a:gd name="T4" fmla="*/ 0 w 530"/>
              <a:gd name="T5" fmla="*/ 57 h 439"/>
              <a:gd name="T6" fmla="*/ 34 w 530"/>
              <a:gd name="T7" fmla="*/ 90 h 439"/>
              <a:gd name="T8" fmla="*/ 440 w 530"/>
              <a:gd name="T9" fmla="*/ 417 h 439"/>
              <a:gd name="T10" fmla="*/ 473 w 530"/>
              <a:gd name="T11" fmla="*/ 439 h 439"/>
              <a:gd name="T12" fmla="*/ 496 w 530"/>
              <a:gd name="T13" fmla="*/ 439 h 439"/>
              <a:gd name="T14" fmla="*/ 530 w 530"/>
              <a:gd name="T15" fmla="*/ 428 h 439"/>
              <a:gd name="T16" fmla="*/ 530 w 530"/>
              <a:gd name="T17" fmla="*/ 406 h 439"/>
              <a:gd name="T18" fmla="*/ 34 w 530"/>
              <a:gd name="T19"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439">
                <a:moveTo>
                  <a:pt x="34" y="0"/>
                </a:moveTo>
                <a:cubicBezTo>
                  <a:pt x="23" y="0"/>
                  <a:pt x="0" y="11"/>
                  <a:pt x="0" y="34"/>
                </a:cubicBezTo>
                <a:cubicBezTo>
                  <a:pt x="0" y="57"/>
                  <a:pt x="0" y="57"/>
                  <a:pt x="0" y="57"/>
                </a:cubicBezTo>
                <a:cubicBezTo>
                  <a:pt x="0" y="79"/>
                  <a:pt x="23" y="90"/>
                  <a:pt x="34" y="90"/>
                </a:cubicBezTo>
                <a:cubicBezTo>
                  <a:pt x="248" y="90"/>
                  <a:pt x="383" y="203"/>
                  <a:pt x="440" y="417"/>
                </a:cubicBezTo>
                <a:cubicBezTo>
                  <a:pt x="440" y="428"/>
                  <a:pt x="451" y="439"/>
                  <a:pt x="473" y="439"/>
                </a:cubicBezTo>
                <a:cubicBezTo>
                  <a:pt x="496" y="439"/>
                  <a:pt x="496" y="439"/>
                  <a:pt x="496" y="439"/>
                </a:cubicBezTo>
                <a:cubicBezTo>
                  <a:pt x="507" y="439"/>
                  <a:pt x="518" y="439"/>
                  <a:pt x="530" y="428"/>
                </a:cubicBezTo>
                <a:cubicBezTo>
                  <a:pt x="530" y="428"/>
                  <a:pt x="530" y="417"/>
                  <a:pt x="530" y="406"/>
                </a:cubicBezTo>
                <a:cubicBezTo>
                  <a:pt x="473" y="147"/>
                  <a:pt x="293" y="0"/>
                  <a:pt x="34"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8" name="Freeform 15"/>
          <p:cNvSpPr>
            <a:spLocks/>
          </p:cNvSpPr>
          <p:nvPr/>
        </p:nvSpPr>
        <p:spPr bwMode="auto">
          <a:xfrm>
            <a:off x="6221159" y="4198898"/>
            <a:ext cx="242932" cy="208120"/>
          </a:xfrm>
          <a:custGeom>
            <a:avLst/>
            <a:gdLst>
              <a:gd name="T0" fmla="*/ 34 w 710"/>
              <a:gd name="T1" fmla="*/ 11 h 608"/>
              <a:gd name="T2" fmla="*/ 11 w 710"/>
              <a:gd name="T3" fmla="*/ 11 h 608"/>
              <a:gd name="T4" fmla="*/ 0 w 710"/>
              <a:gd name="T5" fmla="*/ 45 h 608"/>
              <a:gd name="T6" fmla="*/ 0 w 710"/>
              <a:gd name="T7" fmla="*/ 67 h 608"/>
              <a:gd name="T8" fmla="*/ 22 w 710"/>
              <a:gd name="T9" fmla="*/ 101 h 608"/>
              <a:gd name="T10" fmla="*/ 620 w 710"/>
              <a:gd name="T11" fmla="*/ 585 h 608"/>
              <a:gd name="T12" fmla="*/ 654 w 710"/>
              <a:gd name="T13" fmla="*/ 608 h 608"/>
              <a:gd name="T14" fmla="*/ 676 w 710"/>
              <a:gd name="T15" fmla="*/ 608 h 608"/>
              <a:gd name="T16" fmla="*/ 710 w 710"/>
              <a:gd name="T17" fmla="*/ 596 h 608"/>
              <a:gd name="T18" fmla="*/ 710 w 710"/>
              <a:gd name="T19" fmla="*/ 563 h 608"/>
              <a:gd name="T20" fmla="*/ 34 w 710"/>
              <a:gd name="T21" fmla="*/ 1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34" y="11"/>
                </a:moveTo>
                <a:cubicBezTo>
                  <a:pt x="22" y="0"/>
                  <a:pt x="11" y="11"/>
                  <a:pt x="11" y="11"/>
                </a:cubicBezTo>
                <a:cubicBezTo>
                  <a:pt x="0" y="22"/>
                  <a:pt x="0" y="34"/>
                  <a:pt x="0" y="45"/>
                </a:cubicBezTo>
                <a:cubicBezTo>
                  <a:pt x="0" y="67"/>
                  <a:pt x="0" y="67"/>
                  <a:pt x="0" y="67"/>
                </a:cubicBezTo>
                <a:cubicBezTo>
                  <a:pt x="0" y="79"/>
                  <a:pt x="11" y="101"/>
                  <a:pt x="22" y="101"/>
                </a:cubicBezTo>
                <a:cubicBezTo>
                  <a:pt x="327" y="124"/>
                  <a:pt x="541" y="293"/>
                  <a:pt x="620" y="585"/>
                </a:cubicBezTo>
                <a:cubicBezTo>
                  <a:pt x="620" y="596"/>
                  <a:pt x="631" y="608"/>
                  <a:pt x="654" y="608"/>
                </a:cubicBezTo>
                <a:cubicBezTo>
                  <a:pt x="676" y="608"/>
                  <a:pt x="676" y="608"/>
                  <a:pt x="676" y="608"/>
                </a:cubicBezTo>
                <a:cubicBezTo>
                  <a:pt x="687" y="608"/>
                  <a:pt x="699" y="608"/>
                  <a:pt x="710" y="596"/>
                </a:cubicBezTo>
                <a:cubicBezTo>
                  <a:pt x="710" y="585"/>
                  <a:pt x="710" y="574"/>
                  <a:pt x="710" y="563"/>
                </a:cubicBezTo>
                <a:cubicBezTo>
                  <a:pt x="586" y="214"/>
                  <a:pt x="372" y="34"/>
                  <a:pt x="34" y="1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9" name="Freeform 16"/>
          <p:cNvSpPr>
            <a:spLocks/>
          </p:cNvSpPr>
          <p:nvPr/>
        </p:nvSpPr>
        <p:spPr bwMode="auto">
          <a:xfrm>
            <a:off x="6224171" y="4137267"/>
            <a:ext cx="300449" cy="254284"/>
          </a:xfrm>
          <a:custGeom>
            <a:avLst/>
            <a:gdLst>
              <a:gd name="T0" fmla="*/ 878 w 878"/>
              <a:gd name="T1" fmla="*/ 698 h 743"/>
              <a:gd name="T2" fmla="*/ 33 w 878"/>
              <a:gd name="T3" fmla="*/ 0 h 743"/>
              <a:gd name="T4" fmla="*/ 11 w 878"/>
              <a:gd name="T5" fmla="*/ 11 h 743"/>
              <a:gd name="T6" fmla="*/ 0 w 878"/>
              <a:gd name="T7" fmla="*/ 34 h 743"/>
              <a:gd name="T8" fmla="*/ 0 w 878"/>
              <a:gd name="T9" fmla="*/ 68 h 743"/>
              <a:gd name="T10" fmla="*/ 33 w 878"/>
              <a:gd name="T11" fmla="*/ 101 h 743"/>
              <a:gd name="T12" fmla="*/ 777 w 878"/>
              <a:gd name="T13" fmla="*/ 721 h 743"/>
              <a:gd name="T14" fmla="*/ 811 w 878"/>
              <a:gd name="T15" fmla="*/ 743 h 743"/>
              <a:gd name="T16" fmla="*/ 845 w 878"/>
              <a:gd name="T17" fmla="*/ 743 h 743"/>
              <a:gd name="T18" fmla="*/ 867 w 878"/>
              <a:gd name="T19" fmla="*/ 732 h 743"/>
              <a:gd name="T20" fmla="*/ 878 w 878"/>
              <a:gd name="T21" fmla="*/ 69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743">
                <a:moveTo>
                  <a:pt x="878" y="698"/>
                </a:moveTo>
                <a:cubicBezTo>
                  <a:pt x="754" y="270"/>
                  <a:pt x="473" y="34"/>
                  <a:pt x="33" y="0"/>
                </a:cubicBezTo>
                <a:cubicBezTo>
                  <a:pt x="22" y="0"/>
                  <a:pt x="11" y="11"/>
                  <a:pt x="11" y="11"/>
                </a:cubicBezTo>
                <a:cubicBezTo>
                  <a:pt x="0" y="23"/>
                  <a:pt x="0" y="34"/>
                  <a:pt x="0" y="34"/>
                </a:cubicBezTo>
                <a:cubicBezTo>
                  <a:pt x="0" y="68"/>
                  <a:pt x="0" y="68"/>
                  <a:pt x="0" y="68"/>
                </a:cubicBezTo>
                <a:cubicBezTo>
                  <a:pt x="0" y="79"/>
                  <a:pt x="11" y="101"/>
                  <a:pt x="33" y="101"/>
                </a:cubicBezTo>
                <a:cubicBezTo>
                  <a:pt x="428" y="124"/>
                  <a:pt x="676" y="338"/>
                  <a:pt x="777" y="721"/>
                </a:cubicBezTo>
                <a:cubicBezTo>
                  <a:pt x="788" y="732"/>
                  <a:pt x="800" y="743"/>
                  <a:pt x="811" y="743"/>
                </a:cubicBezTo>
                <a:cubicBezTo>
                  <a:pt x="845" y="743"/>
                  <a:pt x="845" y="743"/>
                  <a:pt x="845" y="743"/>
                </a:cubicBezTo>
                <a:cubicBezTo>
                  <a:pt x="856" y="743"/>
                  <a:pt x="867" y="743"/>
                  <a:pt x="867" y="732"/>
                </a:cubicBezTo>
                <a:cubicBezTo>
                  <a:pt x="878" y="721"/>
                  <a:pt x="878" y="710"/>
                  <a:pt x="878" y="69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useBgFill="1">
        <p:nvSpPr>
          <p:cNvPr id="22" name="Rectangle 21"/>
          <p:cNvSpPr/>
          <p:nvPr/>
        </p:nvSpPr>
        <p:spPr bwMode="auto">
          <a:xfrm>
            <a:off x="0" y="5834251"/>
            <a:ext cx="12436475" cy="120381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23" name="Group 22"/>
          <p:cNvGrpSpPr/>
          <p:nvPr/>
        </p:nvGrpSpPr>
        <p:grpSpPr>
          <a:xfrm>
            <a:off x="1799633" y="3622765"/>
            <a:ext cx="847108" cy="1608381"/>
            <a:chOff x="1799633" y="3622765"/>
            <a:chExt cx="847108" cy="1608381"/>
          </a:xfrm>
        </p:grpSpPr>
        <p:grpSp>
          <p:nvGrpSpPr>
            <p:cNvPr id="7" name="Group 6"/>
            <p:cNvGrpSpPr/>
            <p:nvPr/>
          </p:nvGrpSpPr>
          <p:grpSpPr>
            <a:xfrm>
              <a:off x="1799633" y="3622765"/>
              <a:ext cx="847108" cy="1608381"/>
              <a:chOff x="2893925" y="3622765"/>
              <a:chExt cx="847108" cy="1608381"/>
            </a:xfrm>
          </p:grpSpPr>
          <p:grpSp>
            <p:nvGrpSpPr>
              <p:cNvPr id="20" name="Group 19"/>
              <p:cNvGrpSpPr/>
              <p:nvPr/>
            </p:nvGrpSpPr>
            <p:grpSpPr>
              <a:xfrm>
                <a:off x="2893925" y="3622765"/>
                <a:ext cx="847108" cy="1608381"/>
                <a:chOff x="2944363" y="4000263"/>
                <a:chExt cx="682391" cy="1295637"/>
              </a:xfrm>
            </p:grpSpPr>
            <p:sp>
              <p:nvSpPr>
                <p:cNvPr id="43" name="Rectangle 42"/>
                <p:cNvSpPr/>
                <p:nvPr/>
              </p:nvSpPr>
              <p:spPr bwMode="auto">
                <a:xfrm>
                  <a:off x="2944363" y="4000263"/>
                  <a:ext cx="682391" cy="129563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5" name="Rectangle 44"/>
                <p:cNvSpPr/>
                <p:nvPr/>
              </p:nvSpPr>
              <p:spPr bwMode="auto">
                <a:xfrm>
                  <a:off x="2944363" y="4000263"/>
                  <a:ext cx="682391" cy="186633"/>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3" name="Rectangle 12"/>
                <p:cNvSpPr/>
                <p:nvPr/>
              </p:nvSpPr>
              <p:spPr bwMode="auto">
                <a:xfrm>
                  <a:off x="2991013" y="4241876"/>
                  <a:ext cx="581913" cy="584255"/>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3" name="Rectangle 2"/>
              <p:cNvSpPr/>
              <p:nvPr/>
            </p:nvSpPr>
            <p:spPr bwMode="auto">
              <a:xfrm>
                <a:off x="2951833" y="4683065"/>
                <a:ext cx="722376" cy="15356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900" spc="-50" dirty="0" smtClean="0">
                    <a:gradFill>
                      <a:gsLst>
                        <a:gs pos="1250">
                          <a:srgbClr val="EFEFEF"/>
                        </a:gs>
                        <a:gs pos="10417">
                          <a:srgbClr val="EFEFEF"/>
                        </a:gs>
                      </a:gsLst>
                      <a:lin ang="5400000" scaled="0"/>
                    </a:gradFill>
                  </a:rPr>
                  <a:t>ALERT</a:t>
                </a:r>
              </a:p>
            </p:txBody>
          </p:sp>
        </p:grpSp>
        <p:sp>
          <p:nvSpPr>
            <p:cNvPr id="21" name="Freeform 5"/>
            <p:cNvSpPr>
              <a:spLocks/>
            </p:cNvSpPr>
            <p:nvPr/>
          </p:nvSpPr>
          <p:spPr bwMode="auto">
            <a:xfrm>
              <a:off x="2022817" y="4055048"/>
              <a:ext cx="388840" cy="511365"/>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34" name="Group 33"/>
          <p:cNvGrpSpPr/>
          <p:nvPr/>
        </p:nvGrpSpPr>
        <p:grpSpPr>
          <a:xfrm>
            <a:off x="1797522" y="3621273"/>
            <a:ext cx="849219" cy="1610313"/>
            <a:chOff x="1797522" y="3621273"/>
            <a:chExt cx="849219" cy="1610313"/>
          </a:xfrm>
        </p:grpSpPr>
        <p:grpSp>
          <p:nvGrpSpPr>
            <p:cNvPr id="18" name="Group 17"/>
            <p:cNvGrpSpPr/>
            <p:nvPr/>
          </p:nvGrpSpPr>
          <p:grpSpPr>
            <a:xfrm>
              <a:off x="1797522" y="3621273"/>
              <a:ext cx="849219" cy="1610313"/>
              <a:chOff x="1797522" y="3621273"/>
              <a:chExt cx="849219" cy="1610313"/>
            </a:xfrm>
          </p:grpSpPr>
          <p:sp>
            <p:nvSpPr>
              <p:cNvPr id="9" name="Rectangle 8"/>
              <p:cNvSpPr/>
              <p:nvPr/>
            </p:nvSpPr>
            <p:spPr bwMode="auto">
              <a:xfrm>
                <a:off x="1797522" y="3621273"/>
                <a:ext cx="849219" cy="161031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7" name="Rectangle 56"/>
              <p:cNvSpPr/>
              <p:nvPr/>
            </p:nvSpPr>
            <p:spPr bwMode="auto">
              <a:xfrm>
                <a:off x="1797522" y="3621273"/>
                <a:ext cx="849219" cy="231683"/>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59" name="Freeform 67"/>
              <p:cNvSpPr>
                <a:spLocks noChangeAspect="1" noEditPoints="1"/>
              </p:cNvSpPr>
              <p:nvPr/>
            </p:nvSpPr>
            <p:spPr bwMode="black">
              <a:xfrm>
                <a:off x="2090829" y="3966155"/>
                <a:ext cx="262604" cy="262150"/>
              </a:xfrm>
              <a:custGeom>
                <a:avLst/>
                <a:gdLst>
                  <a:gd name="T0" fmla="*/ 1525 w 1554"/>
                  <a:gd name="T1" fmla="*/ 721 h 1554"/>
                  <a:gd name="T2" fmla="*/ 832 w 1554"/>
                  <a:gd name="T3" fmla="*/ 33 h 1554"/>
                  <a:gd name="T4" fmla="*/ 722 w 1554"/>
                  <a:gd name="T5" fmla="*/ 33 h 1554"/>
                  <a:gd name="T6" fmla="*/ 34 w 1554"/>
                  <a:gd name="T7" fmla="*/ 721 h 1554"/>
                  <a:gd name="T8" fmla="*/ 34 w 1554"/>
                  <a:gd name="T9" fmla="*/ 837 h 1554"/>
                  <a:gd name="T10" fmla="*/ 722 w 1554"/>
                  <a:gd name="T11" fmla="*/ 1525 h 1554"/>
                  <a:gd name="T12" fmla="*/ 832 w 1554"/>
                  <a:gd name="T13" fmla="*/ 1525 h 1554"/>
                  <a:gd name="T14" fmla="*/ 1525 w 1554"/>
                  <a:gd name="T15" fmla="*/ 837 h 1554"/>
                  <a:gd name="T16" fmla="*/ 1525 w 1554"/>
                  <a:gd name="T17" fmla="*/ 721 h 1554"/>
                  <a:gd name="T18" fmla="*/ 1352 w 1554"/>
                  <a:gd name="T19" fmla="*/ 822 h 1554"/>
                  <a:gd name="T20" fmla="*/ 823 w 1554"/>
                  <a:gd name="T21" fmla="*/ 1352 h 1554"/>
                  <a:gd name="T22" fmla="*/ 736 w 1554"/>
                  <a:gd name="T23" fmla="*/ 1352 h 1554"/>
                  <a:gd name="T24" fmla="*/ 207 w 1554"/>
                  <a:gd name="T25" fmla="*/ 822 h 1554"/>
                  <a:gd name="T26" fmla="*/ 207 w 1554"/>
                  <a:gd name="T27" fmla="*/ 736 h 1554"/>
                  <a:gd name="T28" fmla="*/ 736 w 1554"/>
                  <a:gd name="T29" fmla="*/ 207 h 1554"/>
                  <a:gd name="T30" fmla="*/ 823 w 1554"/>
                  <a:gd name="T31" fmla="*/ 207 h 1554"/>
                  <a:gd name="T32" fmla="*/ 1352 w 1554"/>
                  <a:gd name="T33" fmla="*/ 736 h 1554"/>
                  <a:gd name="T34" fmla="*/ 1352 w 1554"/>
                  <a:gd name="T35" fmla="*/ 822 h 1554"/>
                  <a:gd name="T36" fmla="*/ 821 w 1554"/>
                  <a:gd name="T37" fmla="*/ 910 h 1554"/>
                  <a:gd name="T38" fmla="*/ 821 w 1554"/>
                  <a:gd name="T39" fmla="*/ 910 h 1554"/>
                  <a:gd name="T40" fmla="*/ 734 w 1554"/>
                  <a:gd name="T41" fmla="*/ 910 h 1554"/>
                  <a:gd name="T42" fmla="*/ 691 w 1554"/>
                  <a:gd name="T43" fmla="*/ 607 h 1554"/>
                  <a:gd name="T44" fmla="*/ 691 w 1554"/>
                  <a:gd name="T45" fmla="*/ 424 h 1554"/>
                  <a:gd name="T46" fmla="*/ 864 w 1554"/>
                  <a:gd name="T47" fmla="*/ 424 h 1554"/>
                  <a:gd name="T48" fmla="*/ 864 w 1554"/>
                  <a:gd name="T49" fmla="*/ 607 h 1554"/>
                  <a:gd name="T50" fmla="*/ 821 w 1554"/>
                  <a:gd name="T51" fmla="*/ 910 h 1554"/>
                  <a:gd name="T52" fmla="*/ 681 w 1554"/>
                  <a:gd name="T53" fmla="*/ 963 h 1554"/>
                  <a:gd name="T54" fmla="*/ 875 w 1554"/>
                  <a:gd name="T55" fmla="*/ 963 h 1554"/>
                  <a:gd name="T56" fmla="*/ 875 w 1554"/>
                  <a:gd name="T57" fmla="*/ 1151 h 1554"/>
                  <a:gd name="T58" fmla="*/ 681 w 1554"/>
                  <a:gd name="T59" fmla="*/ 1151 h 1554"/>
                  <a:gd name="T60" fmla="*/ 681 w 1554"/>
                  <a:gd name="T61" fmla="*/ 963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54" h="1554">
                    <a:moveTo>
                      <a:pt x="1525" y="721"/>
                    </a:moveTo>
                    <a:cubicBezTo>
                      <a:pt x="832" y="33"/>
                      <a:pt x="832" y="33"/>
                      <a:pt x="832" y="33"/>
                    </a:cubicBezTo>
                    <a:cubicBezTo>
                      <a:pt x="804" y="0"/>
                      <a:pt x="751" y="0"/>
                      <a:pt x="722" y="33"/>
                    </a:cubicBezTo>
                    <a:cubicBezTo>
                      <a:pt x="34" y="721"/>
                      <a:pt x="34" y="721"/>
                      <a:pt x="34" y="721"/>
                    </a:cubicBezTo>
                    <a:cubicBezTo>
                      <a:pt x="0" y="755"/>
                      <a:pt x="0" y="803"/>
                      <a:pt x="34" y="837"/>
                    </a:cubicBezTo>
                    <a:cubicBezTo>
                      <a:pt x="722" y="1525"/>
                      <a:pt x="722" y="1525"/>
                      <a:pt x="722" y="1525"/>
                    </a:cubicBezTo>
                    <a:cubicBezTo>
                      <a:pt x="751" y="1554"/>
                      <a:pt x="804" y="1554"/>
                      <a:pt x="832" y="1525"/>
                    </a:cubicBezTo>
                    <a:cubicBezTo>
                      <a:pt x="1525" y="837"/>
                      <a:pt x="1525" y="837"/>
                      <a:pt x="1525" y="837"/>
                    </a:cubicBezTo>
                    <a:cubicBezTo>
                      <a:pt x="1554" y="803"/>
                      <a:pt x="1554" y="755"/>
                      <a:pt x="1525" y="721"/>
                    </a:cubicBezTo>
                    <a:close/>
                    <a:moveTo>
                      <a:pt x="1352" y="822"/>
                    </a:moveTo>
                    <a:cubicBezTo>
                      <a:pt x="823" y="1352"/>
                      <a:pt x="823" y="1352"/>
                      <a:pt x="823" y="1352"/>
                    </a:cubicBezTo>
                    <a:cubicBezTo>
                      <a:pt x="799" y="1376"/>
                      <a:pt x="760" y="1376"/>
                      <a:pt x="736" y="1352"/>
                    </a:cubicBezTo>
                    <a:cubicBezTo>
                      <a:pt x="207" y="822"/>
                      <a:pt x="207" y="822"/>
                      <a:pt x="207" y="822"/>
                    </a:cubicBezTo>
                    <a:cubicBezTo>
                      <a:pt x="183" y="798"/>
                      <a:pt x="183" y="760"/>
                      <a:pt x="207" y="736"/>
                    </a:cubicBezTo>
                    <a:cubicBezTo>
                      <a:pt x="736" y="207"/>
                      <a:pt x="736" y="207"/>
                      <a:pt x="736" y="207"/>
                    </a:cubicBezTo>
                    <a:cubicBezTo>
                      <a:pt x="760" y="183"/>
                      <a:pt x="799" y="183"/>
                      <a:pt x="823" y="207"/>
                    </a:cubicBezTo>
                    <a:cubicBezTo>
                      <a:pt x="1352" y="736"/>
                      <a:pt x="1352" y="736"/>
                      <a:pt x="1352" y="736"/>
                    </a:cubicBezTo>
                    <a:cubicBezTo>
                      <a:pt x="1376" y="760"/>
                      <a:pt x="1376" y="798"/>
                      <a:pt x="1352" y="822"/>
                    </a:cubicBezTo>
                    <a:close/>
                    <a:moveTo>
                      <a:pt x="821" y="910"/>
                    </a:moveTo>
                    <a:cubicBezTo>
                      <a:pt x="821" y="910"/>
                      <a:pt x="821" y="910"/>
                      <a:pt x="821" y="910"/>
                    </a:cubicBezTo>
                    <a:cubicBezTo>
                      <a:pt x="734" y="910"/>
                      <a:pt x="734" y="910"/>
                      <a:pt x="734" y="910"/>
                    </a:cubicBezTo>
                    <a:cubicBezTo>
                      <a:pt x="691" y="607"/>
                      <a:pt x="691" y="607"/>
                      <a:pt x="691" y="607"/>
                    </a:cubicBezTo>
                    <a:cubicBezTo>
                      <a:pt x="691" y="424"/>
                      <a:pt x="691" y="424"/>
                      <a:pt x="691" y="424"/>
                    </a:cubicBezTo>
                    <a:cubicBezTo>
                      <a:pt x="864" y="424"/>
                      <a:pt x="864" y="424"/>
                      <a:pt x="864" y="424"/>
                    </a:cubicBezTo>
                    <a:cubicBezTo>
                      <a:pt x="864" y="607"/>
                      <a:pt x="864" y="607"/>
                      <a:pt x="864" y="607"/>
                    </a:cubicBezTo>
                    <a:cubicBezTo>
                      <a:pt x="821" y="910"/>
                      <a:pt x="821" y="910"/>
                      <a:pt x="821" y="910"/>
                    </a:cubicBezTo>
                    <a:close/>
                    <a:moveTo>
                      <a:pt x="681" y="963"/>
                    </a:moveTo>
                    <a:cubicBezTo>
                      <a:pt x="875" y="963"/>
                      <a:pt x="875" y="963"/>
                      <a:pt x="875" y="963"/>
                    </a:cubicBezTo>
                    <a:cubicBezTo>
                      <a:pt x="875" y="1151"/>
                      <a:pt x="875" y="1151"/>
                      <a:pt x="875" y="1151"/>
                    </a:cubicBezTo>
                    <a:cubicBezTo>
                      <a:pt x="681" y="1151"/>
                      <a:pt x="681" y="1151"/>
                      <a:pt x="681" y="1151"/>
                    </a:cubicBezTo>
                    <a:cubicBezTo>
                      <a:pt x="681" y="963"/>
                      <a:pt x="681" y="963"/>
                      <a:pt x="681" y="9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6" name="Rectangle 65"/>
              <p:cNvSpPr/>
              <p:nvPr/>
            </p:nvSpPr>
            <p:spPr bwMode="auto">
              <a:xfrm>
                <a:off x="1864450" y="4341504"/>
                <a:ext cx="715362" cy="77481"/>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8" name="Rectangle 67"/>
              <p:cNvSpPr/>
              <p:nvPr/>
            </p:nvSpPr>
            <p:spPr bwMode="auto">
              <a:xfrm>
                <a:off x="1864450" y="4476254"/>
                <a:ext cx="715362" cy="183561"/>
              </a:xfrm>
              <a:prstGeom prst="rect">
                <a:avLst/>
              </a:prstGeom>
              <a:no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0" name="Rectangle 69"/>
              <p:cNvSpPr/>
              <p:nvPr/>
            </p:nvSpPr>
            <p:spPr bwMode="auto">
              <a:xfrm>
                <a:off x="1797522" y="4713841"/>
                <a:ext cx="849219" cy="516537"/>
              </a:xfrm>
              <a:prstGeom prst="rect">
                <a:avLst/>
              </a:prstGeom>
              <a:solidFill>
                <a:schemeClr val="tx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27" name="Freeform 9"/>
            <p:cNvSpPr>
              <a:spLocks/>
            </p:cNvSpPr>
            <p:nvPr/>
          </p:nvSpPr>
          <p:spPr bwMode="auto">
            <a:xfrm>
              <a:off x="2053345" y="3871616"/>
              <a:ext cx="337572" cy="442921"/>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42" name="Freeform 352"/>
          <p:cNvSpPr>
            <a:spLocks/>
          </p:cNvSpPr>
          <p:nvPr/>
        </p:nvSpPr>
        <p:spPr bwMode="auto">
          <a:xfrm rot="1173795">
            <a:off x="1640849" y="4834707"/>
            <a:ext cx="512577" cy="683140"/>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363"/>
            <a:endParaRPr lang="en-US" sz="1700">
              <a:solidFill>
                <a:srgbClr val="FFFFFF"/>
              </a:solidFill>
            </a:endParaRPr>
          </a:p>
        </p:txBody>
      </p:sp>
      <p:sp>
        <p:nvSpPr>
          <p:cNvPr id="60" name="TextBox 59"/>
          <p:cNvSpPr txBox="1"/>
          <p:nvPr/>
        </p:nvSpPr>
        <p:spPr>
          <a:xfrm>
            <a:off x="1715072" y="4364087"/>
            <a:ext cx="1022994" cy="433965"/>
          </a:xfrm>
          <a:prstGeom prst="rect">
            <a:avLst/>
          </a:prstGeom>
          <a:noFill/>
        </p:spPr>
        <p:txBody>
          <a:bodyPr wrap="square" lIns="182880" tIns="146304" rIns="182880" bIns="146304" rtlCol="0">
            <a:spAutoFit/>
          </a:bodyPr>
          <a:lstStyle/>
          <a:p>
            <a:pPr algn="ctr" defTabSz="932503">
              <a:lnSpc>
                <a:spcPct val="90000"/>
              </a:lnSpc>
            </a:pPr>
            <a:r>
              <a:rPr lang="en-US" sz="1000" spc="-50" dirty="0" smtClean="0">
                <a:gradFill>
                  <a:gsLst>
                    <a:gs pos="2917">
                      <a:srgbClr val="008272"/>
                    </a:gs>
                    <a:gs pos="100000">
                      <a:srgbClr val="008272"/>
                    </a:gs>
                  </a:gsLst>
                  <a:lin ang="5400000" scaled="0"/>
                </a:gradFill>
              </a:rPr>
              <a:t>1 4 5 6 7 6</a:t>
            </a:r>
          </a:p>
        </p:txBody>
      </p:sp>
    </p:spTree>
    <p:extLst>
      <p:ext uri="{BB962C8B-B14F-4D97-AF65-F5344CB8AC3E}">
        <p14:creationId xmlns:p14="http://schemas.microsoft.com/office/powerpoint/2010/main" val="286541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ppt_x"/>
                                          </p:val>
                                        </p:tav>
                                        <p:tav tm="100000">
                                          <p:val>
                                            <p:strVal val="#ppt_x"/>
                                          </p:val>
                                        </p:tav>
                                      </p:tavLst>
                                    </p:anim>
                                    <p:anim calcmode="lin" valueType="num">
                                      <p:cBhvr additive="base">
                                        <p:cTn id="8" dur="75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ppt_x"/>
                                          </p:val>
                                        </p:tav>
                                        <p:tav tm="100000">
                                          <p:val>
                                            <p:strVal val="#ppt_x"/>
                                          </p:val>
                                        </p:tav>
                                      </p:tavLst>
                                    </p:anim>
                                    <p:anim calcmode="lin" valueType="num">
                                      <p:cBhvr additive="base">
                                        <p:cTn id="12" dur="75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0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750" fill="hold"/>
                                        <p:tgtEl>
                                          <p:spTgt spid="16"/>
                                        </p:tgtEl>
                                        <p:attrNameLst>
                                          <p:attrName>ppt_x</p:attrName>
                                        </p:attrNameLst>
                                      </p:cBhvr>
                                      <p:tavLst>
                                        <p:tav tm="0">
                                          <p:val>
                                            <p:strVal val="#ppt_x"/>
                                          </p:val>
                                        </p:tav>
                                        <p:tav tm="100000">
                                          <p:val>
                                            <p:strVal val="#ppt_x"/>
                                          </p:val>
                                        </p:tav>
                                      </p:tavLst>
                                    </p:anim>
                                    <p:anim calcmode="lin" valueType="num">
                                      <p:cBhvr additive="base">
                                        <p:cTn id="16" dur="750" fill="hold"/>
                                        <p:tgtEl>
                                          <p:spTgt spid="16"/>
                                        </p:tgtEl>
                                        <p:attrNameLst>
                                          <p:attrName>ppt_y</p:attrName>
                                        </p:attrNameLst>
                                      </p:cBhvr>
                                      <p:tavLst>
                                        <p:tav tm="0">
                                          <p:val>
                                            <p:strVal val="1+#ppt_h/2"/>
                                          </p:val>
                                        </p:tav>
                                        <p:tav tm="100000">
                                          <p:val>
                                            <p:strVal val="#ppt_y"/>
                                          </p:val>
                                        </p:tav>
                                      </p:tavLst>
                                    </p:anim>
                                  </p:childTnLst>
                                </p:cTn>
                              </p:par>
                            </p:childTnLst>
                          </p:cTn>
                        </p:par>
                        <p:par>
                          <p:cTn id="17" fill="hold">
                            <p:stCondLst>
                              <p:cond delay="950"/>
                            </p:stCondLst>
                            <p:childTnLst>
                              <p:par>
                                <p:cTn id="18" presetID="53" presetClass="entr" presetSubtype="16" fill="hold" nodeType="after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p:cTn id="20" dur="250" fill="hold"/>
                                        <p:tgtEl>
                                          <p:spTgt spid="23"/>
                                        </p:tgtEl>
                                        <p:attrNameLst>
                                          <p:attrName>ppt_w</p:attrName>
                                        </p:attrNameLst>
                                      </p:cBhvr>
                                      <p:tavLst>
                                        <p:tav tm="0">
                                          <p:val>
                                            <p:fltVal val="0"/>
                                          </p:val>
                                        </p:tav>
                                        <p:tav tm="100000">
                                          <p:val>
                                            <p:strVal val="#ppt_w"/>
                                          </p:val>
                                        </p:tav>
                                      </p:tavLst>
                                    </p:anim>
                                    <p:anim calcmode="lin" valueType="num">
                                      <p:cBhvr>
                                        <p:cTn id="21" dur="250" fill="hold"/>
                                        <p:tgtEl>
                                          <p:spTgt spid="23"/>
                                        </p:tgtEl>
                                        <p:attrNameLst>
                                          <p:attrName>ppt_h</p:attrName>
                                        </p:attrNameLst>
                                      </p:cBhvr>
                                      <p:tavLst>
                                        <p:tav tm="0">
                                          <p:val>
                                            <p:fltVal val="0"/>
                                          </p:val>
                                        </p:tav>
                                        <p:tav tm="100000">
                                          <p:val>
                                            <p:strVal val="#ppt_h"/>
                                          </p:val>
                                        </p:tav>
                                      </p:tavLst>
                                    </p:anim>
                                    <p:animEffect transition="in" filter="fade">
                                      <p:cBhvr>
                                        <p:cTn id="22" dur="250"/>
                                        <p:tgtEl>
                                          <p:spTgt spid="23"/>
                                        </p:tgtEl>
                                      </p:cBhvr>
                                    </p:animEffect>
                                  </p:childTnLst>
                                </p:cTn>
                              </p:par>
                              <p:par>
                                <p:cTn id="23" presetID="6" presetClass="emph" presetSubtype="0" decel="100000" fill="hold" nodeType="withEffect">
                                  <p:stCondLst>
                                    <p:cond delay="200"/>
                                  </p:stCondLst>
                                  <p:childTnLst>
                                    <p:animScale>
                                      <p:cBhvr>
                                        <p:cTn id="24" dur="250" fill="hold"/>
                                        <p:tgtEl>
                                          <p:spTgt spid="23"/>
                                        </p:tgtEl>
                                      </p:cBhvr>
                                      <p:by x="110000" y="110000"/>
                                    </p:animScale>
                                  </p:childTnLst>
                                </p:cTn>
                              </p:par>
                              <p:par>
                                <p:cTn id="25" presetID="6" presetClass="emph" presetSubtype="0" decel="100000" fill="hold" nodeType="withEffect">
                                  <p:stCondLst>
                                    <p:cond delay="300"/>
                                  </p:stCondLst>
                                  <p:childTnLst>
                                    <p:animScale>
                                      <p:cBhvr>
                                        <p:cTn id="26" dur="250" fill="hold"/>
                                        <p:tgtEl>
                                          <p:spTgt spid="23"/>
                                        </p:tgtEl>
                                      </p:cBhvr>
                                      <p:by x="91000" y="91000"/>
                                    </p:animScale>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400"/>
                                        <p:tgtEl>
                                          <p:spTgt spid="42"/>
                                        </p:tgtEl>
                                      </p:cBhvr>
                                    </p:animEffect>
                                  </p:childTnLst>
                                </p:cTn>
                              </p:par>
                              <p:par>
                                <p:cTn id="31" presetID="63" presetClass="path" presetSubtype="0" decel="100000" fill="hold" grpId="1" nodeType="withEffect">
                                  <p:stCondLst>
                                    <p:cond delay="0"/>
                                  </p:stCondLst>
                                  <p:childTnLst>
                                    <p:animMotion origin="layout" path="M -2.09344E-7 -1.36178E-7 L 0.00932 -0.01316 " pathEditMode="relative" rAng="0" ptsTypes="AA">
                                      <p:cBhvr>
                                        <p:cTn id="32" dur="400" fill="hold"/>
                                        <p:tgtEl>
                                          <p:spTgt spid="42"/>
                                        </p:tgtEl>
                                        <p:attrNameLst>
                                          <p:attrName>ppt_x</p:attrName>
                                          <p:attrName>ppt_y</p:attrName>
                                        </p:attrNameLst>
                                      </p:cBhvr>
                                      <p:rCtr x="46000" y="-65800"/>
                                    </p:animMotion>
                                  </p:childTnLst>
                                </p:cTn>
                              </p:par>
                            </p:childTnLst>
                          </p:cTn>
                        </p:par>
                        <p:par>
                          <p:cTn id="33" fill="hold">
                            <p:stCondLst>
                              <p:cond delay="1900"/>
                            </p:stCondLst>
                            <p:childTnLst>
                              <p:par>
                                <p:cTn id="34" presetID="10" presetClass="exit" presetSubtype="0" fill="hold" grpId="2" nodeType="afterEffect">
                                  <p:stCondLst>
                                    <p:cond delay="200"/>
                                  </p:stCondLst>
                                  <p:childTnLst>
                                    <p:animEffect transition="out" filter="fade">
                                      <p:cBhvr>
                                        <p:cTn id="35" dur="500"/>
                                        <p:tgtEl>
                                          <p:spTgt spid="42"/>
                                        </p:tgtEl>
                                      </p:cBhvr>
                                    </p:animEffect>
                                    <p:set>
                                      <p:cBhvr>
                                        <p:cTn id="36" dur="1" fill="hold">
                                          <p:stCondLst>
                                            <p:cond delay="499"/>
                                          </p:stCondLst>
                                        </p:cTn>
                                        <p:tgtEl>
                                          <p:spTgt spid="42"/>
                                        </p:tgtEl>
                                        <p:attrNameLst>
                                          <p:attrName>style.visibility</p:attrName>
                                        </p:attrNameLst>
                                      </p:cBhvr>
                                      <p:to>
                                        <p:strVal val="hidden"/>
                                      </p:to>
                                    </p:set>
                                  </p:childTnLst>
                                </p:cTn>
                              </p:par>
                            </p:childTnLst>
                          </p:cTn>
                        </p:par>
                        <p:par>
                          <p:cTn id="37" fill="hold">
                            <p:stCondLst>
                              <p:cond delay="2600"/>
                            </p:stCondLst>
                            <p:childTnLst>
                              <p:par>
                                <p:cTn id="38" presetID="53" presetClass="entr" presetSubtype="16" fill="hold" nodeType="after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250" fill="hold"/>
                                        <p:tgtEl>
                                          <p:spTgt spid="34"/>
                                        </p:tgtEl>
                                        <p:attrNameLst>
                                          <p:attrName>ppt_w</p:attrName>
                                        </p:attrNameLst>
                                      </p:cBhvr>
                                      <p:tavLst>
                                        <p:tav tm="0">
                                          <p:val>
                                            <p:fltVal val="0"/>
                                          </p:val>
                                        </p:tav>
                                        <p:tav tm="100000">
                                          <p:val>
                                            <p:strVal val="#ppt_w"/>
                                          </p:val>
                                        </p:tav>
                                      </p:tavLst>
                                    </p:anim>
                                    <p:anim calcmode="lin" valueType="num">
                                      <p:cBhvr>
                                        <p:cTn id="41" dur="250" fill="hold"/>
                                        <p:tgtEl>
                                          <p:spTgt spid="34"/>
                                        </p:tgtEl>
                                        <p:attrNameLst>
                                          <p:attrName>ppt_h</p:attrName>
                                        </p:attrNameLst>
                                      </p:cBhvr>
                                      <p:tavLst>
                                        <p:tav tm="0">
                                          <p:val>
                                            <p:fltVal val="0"/>
                                          </p:val>
                                        </p:tav>
                                        <p:tav tm="100000">
                                          <p:val>
                                            <p:strVal val="#ppt_h"/>
                                          </p:val>
                                        </p:tav>
                                      </p:tavLst>
                                    </p:anim>
                                    <p:animEffect transition="in" filter="fade">
                                      <p:cBhvr>
                                        <p:cTn id="42" dur="250"/>
                                        <p:tgtEl>
                                          <p:spTgt spid="34"/>
                                        </p:tgtEl>
                                      </p:cBhvr>
                                    </p:animEffect>
                                  </p:childTnLst>
                                </p:cTn>
                              </p:par>
                              <p:par>
                                <p:cTn id="43" presetID="6" presetClass="emph" presetSubtype="0" decel="100000" fill="hold" nodeType="withEffect">
                                  <p:stCondLst>
                                    <p:cond delay="200"/>
                                  </p:stCondLst>
                                  <p:childTnLst>
                                    <p:animScale>
                                      <p:cBhvr>
                                        <p:cTn id="44" dur="250" fill="hold"/>
                                        <p:tgtEl>
                                          <p:spTgt spid="34"/>
                                        </p:tgtEl>
                                      </p:cBhvr>
                                      <p:by x="110000" y="110000"/>
                                    </p:animScale>
                                  </p:childTnLst>
                                </p:cTn>
                              </p:par>
                              <p:par>
                                <p:cTn id="45" presetID="6" presetClass="emph" presetSubtype="0" decel="100000" fill="hold" nodeType="withEffect">
                                  <p:stCondLst>
                                    <p:cond delay="300"/>
                                  </p:stCondLst>
                                  <p:childTnLst>
                                    <p:animScale>
                                      <p:cBhvr>
                                        <p:cTn id="46" dur="250" fill="hold"/>
                                        <p:tgtEl>
                                          <p:spTgt spid="34"/>
                                        </p:tgtEl>
                                      </p:cBhvr>
                                      <p:by x="91000" y="91000"/>
                                    </p:animScale>
                                  </p:childTnLst>
                                </p:cTn>
                              </p:par>
                            </p:childTnLst>
                          </p:cTn>
                        </p:par>
                        <p:par>
                          <p:cTn id="47" fill="hold">
                            <p:stCondLst>
                              <p:cond delay="3150"/>
                            </p:stCondLst>
                            <p:childTnLst>
                              <p:par>
                                <p:cTn id="48" presetID="22" presetClass="entr" presetSubtype="8" fill="hold" grpId="0" nodeType="afterEffect">
                                  <p:stCondLst>
                                    <p:cond delay="0"/>
                                  </p:stCondLst>
                                  <p:childTnLst>
                                    <p:set>
                                      <p:cBhvr>
                                        <p:cTn id="49" dur="1" fill="hold">
                                          <p:stCondLst>
                                            <p:cond delay="0"/>
                                          </p:stCondLst>
                                        </p:cTn>
                                        <p:tgtEl>
                                          <p:spTgt spid="60"/>
                                        </p:tgtEl>
                                        <p:attrNameLst>
                                          <p:attrName>style.visibility</p:attrName>
                                        </p:attrNameLst>
                                      </p:cBhvr>
                                      <p:to>
                                        <p:strVal val="visible"/>
                                      </p:to>
                                    </p:set>
                                    <p:animEffect transition="in" filter="wipe(left)">
                                      <p:cBhvr>
                                        <p:cTn id="50" dur="500"/>
                                        <p:tgtEl>
                                          <p:spTgt spid="60"/>
                                        </p:tgtEl>
                                      </p:cBhvr>
                                    </p:animEffect>
                                  </p:childTnLst>
                                </p:cTn>
                              </p:par>
                            </p:childTnLst>
                          </p:cTn>
                        </p:par>
                        <p:par>
                          <p:cTn id="51" fill="hold">
                            <p:stCondLst>
                              <p:cond delay="3650"/>
                            </p:stCondLst>
                            <p:childTnLst>
                              <p:par>
                                <p:cTn id="52" presetID="53" presetClass="entr" presetSubtype="16" fill="hold" nodeType="afterEffect">
                                  <p:stCondLst>
                                    <p:cond delay="0"/>
                                  </p:stCondLst>
                                  <p:childTnLst>
                                    <p:set>
                                      <p:cBhvr>
                                        <p:cTn id="53" dur="1" fill="hold">
                                          <p:stCondLst>
                                            <p:cond delay="0"/>
                                          </p:stCondLst>
                                        </p:cTn>
                                        <p:tgtEl>
                                          <p:spTgt spid="47"/>
                                        </p:tgtEl>
                                        <p:attrNameLst>
                                          <p:attrName>style.visibility</p:attrName>
                                        </p:attrNameLst>
                                      </p:cBhvr>
                                      <p:to>
                                        <p:strVal val="visible"/>
                                      </p:to>
                                    </p:set>
                                    <p:anim calcmode="lin" valueType="num">
                                      <p:cBhvr>
                                        <p:cTn id="54" dur="250" fill="hold"/>
                                        <p:tgtEl>
                                          <p:spTgt spid="47"/>
                                        </p:tgtEl>
                                        <p:attrNameLst>
                                          <p:attrName>ppt_w</p:attrName>
                                        </p:attrNameLst>
                                      </p:cBhvr>
                                      <p:tavLst>
                                        <p:tav tm="0">
                                          <p:val>
                                            <p:fltVal val="0"/>
                                          </p:val>
                                        </p:tav>
                                        <p:tav tm="100000">
                                          <p:val>
                                            <p:strVal val="#ppt_w"/>
                                          </p:val>
                                        </p:tav>
                                      </p:tavLst>
                                    </p:anim>
                                    <p:anim calcmode="lin" valueType="num">
                                      <p:cBhvr>
                                        <p:cTn id="55" dur="250" fill="hold"/>
                                        <p:tgtEl>
                                          <p:spTgt spid="47"/>
                                        </p:tgtEl>
                                        <p:attrNameLst>
                                          <p:attrName>ppt_h</p:attrName>
                                        </p:attrNameLst>
                                      </p:cBhvr>
                                      <p:tavLst>
                                        <p:tav tm="0">
                                          <p:val>
                                            <p:fltVal val="0"/>
                                          </p:val>
                                        </p:tav>
                                        <p:tav tm="100000">
                                          <p:val>
                                            <p:strVal val="#ppt_h"/>
                                          </p:val>
                                        </p:tav>
                                      </p:tavLst>
                                    </p:anim>
                                    <p:animEffect transition="in" filter="fade">
                                      <p:cBhvr>
                                        <p:cTn id="56" dur="250"/>
                                        <p:tgtEl>
                                          <p:spTgt spid="47"/>
                                        </p:tgtEl>
                                      </p:cBhvr>
                                    </p:animEffect>
                                  </p:childTnLst>
                                </p:cTn>
                              </p:par>
                              <p:par>
                                <p:cTn id="57" presetID="6" presetClass="emph" presetSubtype="0" decel="100000" fill="hold" nodeType="withEffect">
                                  <p:stCondLst>
                                    <p:cond delay="200"/>
                                  </p:stCondLst>
                                  <p:childTnLst>
                                    <p:animScale>
                                      <p:cBhvr>
                                        <p:cTn id="58" dur="250" fill="hold"/>
                                        <p:tgtEl>
                                          <p:spTgt spid="47"/>
                                        </p:tgtEl>
                                      </p:cBhvr>
                                      <p:by x="110000" y="110000"/>
                                    </p:animScale>
                                  </p:childTnLst>
                                </p:cTn>
                              </p:par>
                              <p:par>
                                <p:cTn id="59" presetID="6" presetClass="emph" presetSubtype="0" decel="100000" fill="hold" nodeType="withEffect">
                                  <p:stCondLst>
                                    <p:cond delay="300"/>
                                  </p:stCondLst>
                                  <p:childTnLst>
                                    <p:animScale>
                                      <p:cBhvr>
                                        <p:cTn id="60" dur="250" fill="hold"/>
                                        <p:tgtEl>
                                          <p:spTgt spid="47"/>
                                        </p:tgtEl>
                                      </p:cBhvr>
                                      <p:by x="91000" y="91000"/>
                                    </p:animScale>
                                  </p:childTnLst>
                                </p:cTn>
                              </p:par>
                            </p:childTnLst>
                          </p:cTn>
                        </p:par>
                        <p:par>
                          <p:cTn id="61" fill="hold">
                            <p:stCondLst>
                              <p:cond delay="4200"/>
                            </p:stCondLst>
                            <p:childTnLst>
                              <p:par>
                                <p:cTn id="62" presetID="1" presetClass="entr" presetSubtype="0" fill="hold" grpId="0" nodeType="afterEffect">
                                  <p:stCondLst>
                                    <p:cond delay="0"/>
                                  </p:stCondLst>
                                  <p:childTnLst>
                                    <p:set>
                                      <p:cBhvr>
                                        <p:cTn id="63" dur="1" fill="hold">
                                          <p:stCondLst>
                                            <p:cond delay="149"/>
                                          </p:stCondLst>
                                        </p:cTn>
                                        <p:tgtEl>
                                          <p:spTgt spid="46"/>
                                        </p:tgtEl>
                                        <p:attrNameLst>
                                          <p:attrName>style.visibility</p:attrName>
                                        </p:attrNameLst>
                                      </p:cBhvr>
                                      <p:to>
                                        <p:strVal val="visible"/>
                                      </p:to>
                                    </p:set>
                                  </p:childTnLst>
                                </p:cTn>
                              </p:par>
                              <p:par>
                                <p:cTn id="64" presetID="1" presetClass="exit" presetSubtype="0" fill="hold" grpId="1" nodeType="withEffect">
                                  <p:stCondLst>
                                    <p:cond delay="100"/>
                                  </p:stCondLst>
                                  <p:childTnLst>
                                    <p:set>
                                      <p:cBhvr>
                                        <p:cTn id="65" dur="1" fill="hold">
                                          <p:stCondLst>
                                            <p:cond delay="149"/>
                                          </p:stCondLst>
                                        </p:cTn>
                                        <p:tgtEl>
                                          <p:spTgt spid="46"/>
                                        </p:tgtEl>
                                        <p:attrNameLst>
                                          <p:attrName>style.visibility</p:attrName>
                                        </p:attrNameLst>
                                      </p:cBhvr>
                                      <p:to>
                                        <p:strVal val="hidden"/>
                                      </p:to>
                                    </p:set>
                                  </p:childTnLst>
                                </p:cTn>
                              </p:par>
                              <p:par>
                                <p:cTn id="66" presetID="1" presetClass="entr" presetSubtype="0" fill="hold" grpId="0" nodeType="withEffect">
                                  <p:stCondLst>
                                    <p:cond delay="100"/>
                                  </p:stCondLst>
                                  <p:childTnLst>
                                    <p:set>
                                      <p:cBhvr>
                                        <p:cTn id="67" dur="1" fill="hold">
                                          <p:stCondLst>
                                            <p:cond delay="149"/>
                                          </p:stCondLst>
                                        </p:cTn>
                                        <p:tgtEl>
                                          <p:spTgt spid="48"/>
                                        </p:tgtEl>
                                        <p:attrNameLst>
                                          <p:attrName>style.visibility</p:attrName>
                                        </p:attrNameLst>
                                      </p:cBhvr>
                                      <p:to>
                                        <p:strVal val="visible"/>
                                      </p:to>
                                    </p:set>
                                  </p:childTnLst>
                                </p:cTn>
                              </p:par>
                              <p:par>
                                <p:cTn id="68" presetID="1" presetClass="exit" presetSubtype="0" fill="hold" grpId="1" nodeType="withEffect">
                                  <p:stCondLst>
                                    <p:cond delay="200"/>
                                  </p:stCondLst>
                                  <p:childTnLst>
                                    <p:set>
                                      <p:cBhvr>
                                        <p:cTn id="69" dur="1" fill="hold">
                                          <p:stCondLst>
                                            <p:cond delay="149"/>
                                          </p:stCondLst>
                                        </p:cTn>
                                        <p:tgtEl>
                                          <p:spTgt spid="48"/>
                                        </p:tgtEl>
                                        <p:attrNameLst>
                                          <p:attrName>style.visibility</p:attrName>
                                        </p:attrNameLst>
                                      </p:cBhvr>
                                      <p:to>
                                        <p:strVal val="hidden"/>
                                      </p:to>
                                    </p:set>
                                  </p:childTnLst>
                                </p:cTn>
                              </p:par>
                              <p:par>
                                <p:cTn id="70" presetID="1" presetClass="entr" presetSubtype="0" fill="hold" grpId="0" nodeType="withEffect">
                                  <p:stCondLst>
                                    <p:cond delay="200"/>
                                  </p:stCondLst>
                                  <p:childTnLst>
                                    <p:set>
                                      <p:cBhvr>
                                        <p:cTn id="71" dur="1" fill="hold">
                                          <p:stCondLst>
                                            <p:cond delay="149"/>
                                          </p:stCondLst>
                                        </p:cTn>
                                        <p:tgtEl>
                                          <p:spTgt spid="49"/>
                                        </p:tgtEl>
                                        <p:attrNameLst>
                                          <p:attrName>style.visibility</p:attrName>
                                        </p:attrNameLst>
                                      </p:cBhvr>
                                      <p:to>
                                        <p:strVal val="visible"/>
                                      </p:to>
                                    </p:set>
                                  </p:childTnLst>
                                </p:cTn>
                              </p:par>
                              <p:par>
                                <p:cTn id="72" presetID="1" presetClass="exit" presetSubtype="0" fill="hold" grpId="1" nodeType="withEffect">
                                  <p:stCondLst>
                                    <p:cond delay="300"/>
                                  </p:stCondLst>
                                  <p:childTnLst>
                                    <p:set>
                                      <p:cBhvr>
                                        <p:cTn id="73" dur="1" fill="hold">
                                          <p:stCondLst>
                                            <p:cond delay="149"/>
                                          </p:stCondLst>
                                        </p:cTn>
                                        <p:tgtEl>
                                          <p:spTgt spid="49"/>
                                        </p:tgtEl>
                                        <p:attrNameLst>
                                          <p:attrName>style.visibility</p:attrName>
                                        </p:attrNameLst>
                                      </p:cBhvr>
                                      <p:to>
                                        <p:strVal val="hidden"/>
                                      </p:to>
                                    </p:set>
                                  </p:childTnLst>
                                </p:cTn>
                              </p:par>
                            </p:childTnLst>
                          </p:cTn>
                        </p:par>
                        <p:par>
                          <p:cTn id="74" fill="hold">
                            <p:stCondLst>
                              <p:cond delay="4650"/>
                            </p:stCondLst>
                            <p:childTnLst>
                              <p:par>
                                <p:cTn id="75" presetID="1" presetClass="entr" presetSubtype="0" fill="hold" grpId="2" nodeType="afterEffect">
                                  <p:stCondLst>
                                    <p:cond delay="0"/>
                                  </p:stCondLst>
                                  <p:childTnLst>
                                    <p:set>
                                      <p:cBhvr>
                                        <p:cTn id="76" dur="1" fill="hold">
                                          <p:stCondLst>
                                            <p:cond delay="149"/>
                                          </p:stCondLst>
                                        </p:cTn>
                                        <p:tgtEl>
                                          <p:spTgt spid="46"/>
                                        </p:tgtEl>
                                        <p:attrNameLst>
                                          <p:attrName>style.visibility</p:attrName>
                                        </p:attrNameLst>
                                      </p:cBhvr>
                                      <p:to>
                                        <p:strVal val="visible"/>
                                      </p:to>
                                    </p:set>
                                  </p:childTnLst>
                                </p:cTn>
                              </p:par>
                              <p:par>
                                <p:cTn id="77" presetID="1" presetClass="exit" presetSubtype="0" fill="hold" grpId="3" nodeType="withEffect">
                                  <p:stCondLst>
                                    <p:cond delay="100"/>
                                  </p:stCondLst>
                                  <p:childTnLst>
                                    <p:set>
                                      <p:cBhvr>
                                        <p:cTn id="78" dur="1" fill="hold">
                                          <p:stCondLst>
                                            <p:cond delay="149"/>
                                          </p:stCondLst>
                                        </p:cTn>
                                        <p:tgtEl>
                                          <p:spTgt spid="46"/>
                                        </p:tgtEl>
                                        <p:attrNameLst>
                                          <p:attrName>style.visibility</p:attrName>
                                        </p:attrNameLst>
                                      </p:cBhvr>
                                      <p:to>
                                        <p:strVal val="hidden"/>
                                      </p:to>
                                    </p:set>
                                  </p:childTnLst>
                                </p:cTn>
                              </p:par>
                              <p:par>
                                <p:cTn id="79" presetID="1" presetClass="entr" presetSubtype="0" fill="hold" grpId="2" nodeType="withEffect">
                                  <p:stCondLst>
                                    <p:cond delay="100"/>
                                  </p:stCondLst>
                                  <p:childTnLst>
                                    <p:set>
                                      <p:cBhvr>
                                        <p:cTn id="80" dur="1" fill="hold">
                                          <p:stCondLst>
                                            <p:cond delay="149"/>
                                          </p:stCondLst>
                                        </p:cTn>
                                        <p:tgtEl>
                                          <p:spTgt spid="48"/>
                                        </p:tgtEl>
                                        <p:attrNameLst>
                                          <p:attrName>style.visibility</p:attrName>
                                        </p:attrNameLst>
                                      </p:cBhvr>
                                      <p:to>
                                        <p:strVal val="visible"/>
                                      </p:to>
                                    </p:set>
                                  </p:childTnLst>
                                </p:cTn>
                              </p:par>
                              <p:par>
                                <p:cTn id="81" presetID="1" presetClass="exit" presetSubtype="0" fill="hold" grpId="3" nodeType="withEffect">
                                  <p:stCondLst>
                                    <p:cond delay="200"/>
                                  </p:stCondLst>
                                  <p:childTnLst>
                                    <p:set>
                                      <p:cBhvr>
                                        <p:cTn id="82" dur="1" fill="hold">
                                          <p:stCondLst>
                                            <p:cond delay="149"/>
                                          </p:stCondLst>
                                        </p:cTn>
                                        <p:tgtEl>
                                          <p:spTgt spid="48"/>
                                        </p:tgtEl>
                                        <p:attrNameLst>
                                          <p:attrName>style.visibility</p:attrName>
                                        </p:attrNameLst>
                                      </p:cBhvr>
                                      <p:to>
                                        <p:strVal val="hidden"/>
                                      </p:to>
                                    </p:set>
                                  </p:childTnLst>
                                </p:cTn>
                              </p:par>
                              <p:par>
                                <p:cTn id="83" presetID="1" presetClass="entr" presetSubtype="0" fill="hold" grpId="2" nodeType="withEffect">
                                  <p:stCondLst>
                                    <p:cond delay="200"/>
                                  </p:stCondLst>
                                  <p:childTnLst>
                                    <p:set>
                                      <p:cBhvr>
                                        <p:cTn id="84" dur="1" fill="hold">
                                          <p:stCondLst>
                                            <p:cond delay="149"/>
                                          </p:stCondLst>
                                        </p:cTn>
                                        <p:tgtEl>
                                          <p:spTgt spid="49"/>
                                        </p:tgtEl>
                                        <p:attrNameLst>
                                          <p:attrName>style.visibility</p:attrName>
                                        </p:attrNameLst>
                                      </p:cBhvr>
                                      <p:to>
                                        <p:strVal val="visible"/>
                                      </p:to>
                                    </p:set>
                                  </p:childTnLst>
                                </p:cTn>
                              </p:par>
                              <p:par>
                                <p:cTn id="85" presetID="1" presetClass="exit" presetSubtype="0" fill="hold" grpId="3" nodeType="withEffect">
                                  <p:stCondLst>
                                    <p:cond delay="300"/>
                                  </p:stCondLst>
                                  <p:childTnLst>
                                    <p:set>
                                      <p:cBhvr>
                                        <p:cTn id="86" dur="1" fill="hold">
                                          <p:stCondLst>
                                            <p:cond delay="149"/>
                                          </p:stCondLst>
                                        </p:cTn>
                                        <p:tgtEl>
                                          <p:spTgt spid="49"/>
                                        </p:tgtEl>
                                        <p:attrNameLst>
                                          <p:attrName>style.visibility</p:attrName>
                                        </p:attrNameLst>
                                      </p:cBhvr>
                                      <p:to>
                                        <p:strVal val="hidden"/>
                                      </p:to>
                                    </p:set>
                                  </p:childTnLst>
                                </p:cTn>
                              </p:par>
                            </p:childTnLst>
                          </p:cTn>
                        </p:par>
                        <p:par>
                          <p:cTn id="87" fill="hold">
                            <p:stCondLst>
                              <p:cond delay="5100"/>
                            </p:stCondLst>
                            <p:childTnLst>
                              <p:par>
                                <p:cTn id="88" presetID="53" presetClass="entr" presetSubtype="16" fill="hold" grpId="0" nodeType="afterEffect">
                                  <p:stCondLst>
                                    <p:cond delay="0"/>
                                  </p:stCondLst>
                                  <p:childTnLst>
                                    <p:set>
                                      <p:cBhvr>
                                        <p:cTn id="89" dur="1" fill="hold">
                                          <p:stCondLst>
                                            <p:cond delay="0"/>
                                          </p:stCondLst>
                                        </p:cTn>
                                        <p:tgtEl>
                                          <p:spTgt spid="61"/>
                                        </p:tgtEl>
                                        <p:attrNameLst>
                                          <p:attrName>style.visibility</p:attrName>
                                        </p:attrNameLst>
                                      </p:cBhvr>
                                      <p:to>
                                        <p:strVal val="visible"/>
                                      </p:to>
                                    </p:set>
                                    <p:anim calcmode="lin" valueType="num">
                                      <p:cBhvr>
                                        <p:cTn id="90" dur="250" fill="hold"/>
                                        <p:tgtEl>
                                          <p:spTgt spid="61"/>
                                        </p:tgtEl>
                                        <p:attrNameLst>
                                          <p:attrName>ppt_w</p:attrName>
                                        </p:attrNameLst>
                                      </p:cBhvr>
                                      <p:tavLst>
                                        <p:tav tm="0">
                                          <p:val>
                                            <p:fltVal val="0"/>
                                          </p:val>
                                        </p:tav>
                                        <p:tav tm="100000">
                                          <p:val>
                                            <p:strVal val="#ppt_w"/>
                                          </p:val>
                                        </p:tav>
                                      </p:tavLst>
                                    </p:anim>
                                    <p:anim calcmode="lin" valueType="num">
                                      <p:cBhvr>
                                        <p:cTn id="91" dur="250" fill="hold"/>
                                        <p:tgtEl>
                                          <p:spTgt spid="61"/>
                                        </p:tgtEl>
                                        <p:attrNameLst>
                                          <p:attrName>ppt_h</p:attrName>
                                        </p:attrNameLst>
                                      </p:cBhvr>
                                      <p:tavLst>
                                        <p:tav tm="0">
                                          <p:val>
                                            <p:fltVal val="0"/>
                                          </p:val>
                                        </p:tav>
                                        <p:tav tm="100000">
                                          <p:val>
                                            <p:strVal val="#ppt_h"/>
                                          </p:val>
                                        </p:tav>
                                      </p:tavLst>
                                    </p:anim>
                                    <p:animEffect transition="in" filter="fade">
                                      <p:cBhvr>
                                        <p:cTn id="92" dur="250"/>
                                        <p:tgtEl>
                                          <p:spTgt spid="61"/>
                                        </p:tgtEl>
                                      </p:cBhvr>
                                    </p:animEffect>
                                  </p:childTnLst>
                                </p:cTn>
                              </p:par>
                              <p:par>
                                <p:cTn id="93" presetID="6" presetClass="emph" presetSubtype="0" decel="100000" fill="hold" grpId="1" nodeType="withEffect">
                                  <p:stCondLst>
                                    <p:cond delay="200"/>
                                  </p:stCondLst>
                                  <p:childTnLst>
                                    <p:animScale>
                                      <p:cBhvr>
                                        <p:cTn id="94" dur="250" fill="hold"/>
                                        <p:tgtEl>
                                          <p:spTgt spid="61"/>
                                        </p:tgtEl>
                                      </p:cBhvr>
                                      <p:by x="110000" y="110000"/>
                                    </p:animScale>
                                  </p:childTnLst>
                                </p:cTn>
                              </p:par>
                              <p:par>
                                <p:cTn id="95" presetID="6" presetClass="emph" presetSubtype="0" decel="100000" fill="hold" grpId="2" nodeType="withEffect">
                                  <p:stCondLst>
                                    <p:cond delay="300"/>
                                  </p:stCondLst>
                                  <p:childTnLst>
                                    <p:animScale>
                                      <p:cBhvr>
                                        <p:cTn id="96" dur="250" fill="hold"/>
                                        <p:tgtEl>
                                          <p:spTgt spid="61"/>
                                        </p:tgtEl>
                                      </p:cBhvr>
                                      <p:by x="91000" y="91000"/>
                                    </p:animScale>
                                  </p:childTnLst>
                                </p:cTn>
                              </p:par>
                            </p:childTnLst>
                          </p:cTn>
                        </p:par>
                        <p:par>
                          <p:cTn id="97" fill="hold">
                            <p:stCondLst>
                              <p:cond delay="5650"/>
                            </p:stCondLst>
                            <p:childTnLst>
                              <p:par>
                                <p:cTn id="98" presetID="42" presetClass="entr" presetSubtype="0" fill="hold" nodeType="after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anim calcmode="lin" valueType="num">
                                      <p:cBhvr>
                                        <p:cTn id="101" dur="500" fill="hold"/>
                                        <p:tgtEl>
                                          <p:spTgt spid="50"/>
                                        </p:tgtEl>
                                        <p:attrNameLst>
                                          <p:attrName>ppt_x</p:attrName>
                                        </p:attrNameLst>
                                      </p:cBhvr>
                                      <p:tavLst>
                                        <p:tav tm="0">
                                          <p:val>
                                            <p:strVal val="#ppt_x"/>
                                          </p:val>
                                        </p:tav>
                                        <p:tav tm="100000">
                                          <p:val>
                                            <p:strVal val="#ppt_x"/>
                                          </p:val>
                                        </p:tav>
                                      </p:tavLst>
                                    </p:anim>
                                    <p:anim calcmode="lin" valueType="num">
                                      <p:cBhvr>
                                        <p:cTn id="102" dur="5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P spid="61" grpId="2" animBg="1"/>
      <p:bldP spid="46" grpId="0" animBg="1"/>
      <p:bldP spid="46" grpId="1" animBg="1"/>
      <p:bldP spid="46" grpId="2" animBg="1"/>
      <p:bldP spid="46" grpId="3" animBg="1"/>
      <p:bldP spid="48" grpId="0" animBg="1"/>
      <p:bldP spid="48" grpId="1" animBg="1"/>
      <p:bldP spid="48" grpId="2" animBg="1"/>
      <p:bldP spid="48" grpId="3" animBg="1"/>
      <p:bldP spid="49" grpId="0" animBg="1"/>
      <p:bldP spid="49" grpId="1" animBg="1"/>
      <p:bldP spid="49" grpId="2" animBg="1"/>
      <p:bldP spid="49" grpId="3" animBg="1"/>
      <p:bldP spid="42" grpId="0" animBg="1"/>
      <p:bldP spid="42" grpId="1" animBg="1"/>
      <p:bldP spid="42" grpId="2" animBg="1"/>
      <p:bldP spid="6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6447" y="9706"/>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solidFill>
            <a:srgbClr val="FFFFFF"/>
          </a:solidFill>
        </p:spPr>
        <p:txBody>
          <a:bodyPr lIns="1920240"/>
          <a:lstStyle/>
          <a:p>
            <a:pPr lvl="0" defTabSz="914099" fontAlgn="base">
              <a:spcAft>
                <a:spcPct val="0"/>
              </a:spcAft>
            </a:pPr>
            <a:r>
              <a:rPr lang="en-US" sz="4000" dirty="0" smtClean="0">
                <a:gradFill>
                  <a:gsLst>
                    <a:gs pos="9167">
                      <a:schemeClr val="bg2"/>
                    </a:gs>
                    <a:gs pos="100000">
                      <a:schemeClr val="bg2"/>
                    </a:gs>
                  </a:gsLst>
                  <a:lin ang="5400000" scaled="0"/>
                </a:gradFill>
              </a:rPr>
              <a:t>Empower Users</a:t>
            </a:r>
            <a:endParaRPr lang="en-US" sz="4000" dirty="0">
              <a:gradFill>
                <a:gsLst>
                  <a:gs pos="9167">
                    <a:schemeClr val="bg2"/>
                  </a:gs>
                  <a:gs pos="100000">
                    <a:schemeClr val="bg2"/>
                  </a:gs>
                </a:gsLst>
                <a:lin ang="5400000" scaled="0"/>
              </a:gradFill>
            </a:endParaRPr>
          </a:p>
        </p:txBody>
      </p:sp>
      <p:grpSp>
        <p:nvGrpSpPr>
          <p:cNvPr id="39" name="Group 38"/>
          <p:cNvGrpSpPr/>
          <p:nvPr/>
        </p:nvGrpSpPr>
        <p:grpSpPr>
          <a:xfrm>
            <a:off x="172499" y="174123"/>
            <a:ext cx="1777313" cy="1766618"/>
            <a:chOff x="9251849" y="3296296"/>
            <a:chExt cx="2897135" cy="2879702"/>
          </a:xfrm>
        </p:grpSpPr>
        <p:grpSp>
          <p:nvGrpSpPr>
            <p:cNvPr id="46" name="Group 45"/>
            <p:cNvGrpSpPr/>
            <p:nvPr/>
          </p:nvGrpSpPr>
          <p:grpSpPr>
            <a:xfrm>
              <a:off x="9251849" y="3296296"/>
              <a:ext cx="2897135" cy="2879702"/>
              <a:chOff x="9251849" y="3296296"/>
              <a:chExt cx="2897135" cy="2879702"/>
            </a:xfrm>
          </p:grpSpPr>
          <p:sp>
            <p:nvSpPr>
              <p:cNvPr id="48" name="Oval 47"/>
              <p:cNvSpPr/>
              <p:nvPr/>
            </p:nvSpPr>
            <p:spPr bwMode="auto">
              <a:xfrm>
                <a:off x="9269282" y="3296296"/>
                <a:ext cx="2879702" cy="2879702"/>
              </a:xfrm>
              <a:prstGeom prst="ellipse">
                <a:avLst/>
              </a:prstGeom>
              <a:solidFill>
                <a:srgbClr val="FFFFFF"/>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9" name="Rectangle 119"/>
              <p:cNvSpPr/>
              <p:nvPr/>
            </p:nvSpPr>
            <p:spPr bwMode="auto">
              <a:xfrm>
                <a:off x="9477251" y="3670938"/>
                <a:ext cx="2480345" cy="341552"/>
              </a:xfrm>
              <a:custGeom>
                <a:avLst/>
                <a:gdLst>
                  <a:gd name="connsiteX0" fmla="*/ 0 w 2820374"/>
                  <a:gd name="connsiteY0" fmla="*/ 0 h 355689"/>
                  <a:gd name="connsiteX1" fmla="*/ 2820374 w 2820374"/>
                  <a:gd name="connsiteY1" fmla="*/ 0 h 355689"/>
                  <a:gd name="connsiteX2" fmla="*/ 2820374 w 2820374"/>
                  <a:gd name="connsiteY2" fmla="*/ 355689 h 355689"/>
                  <a:gd name="connsiteX3" fmla="*/ 0 w 2820374"/>
                  <a:gd name="connsiteY3" fmla="*/ 355689 h 355689"/>
                  <a:gd name="connsiteX4" fmla="*/ 0 w 2820374"/>
                  <a:gd name="connsiteY4" fmla="*/ 0 h 355689"/>
                  <a:gd name="connsiteX0" fmla="*/ 432667 w 2820374"/>
                  <a:gd name="connsiteY0" fmla="*/ 8921 h 355689"/>
                  <a:gd name="connsiteX1" fmla="*/ 2820374 w 2820374"/>
                  <a:gd name="connsiteY1" fmla="*/ 0 h 355689"/>
                  <a:gd name="connsiteX2" fmla="*/ 2820374 w 2820374"/>
                  <a:gd name="connsiteY2" fmla="*/ 355689 h 355689"/>
                  <a:gd name="connsiteX3" fmla="*/ 0 w 2820374"/>
                  <a:gd name="connsiteY3" fmla="*/ 355689 h 355689"/>
                  <a:gd name="connsiteX4" fmla="*/ 432667 w 2820374"/>
                  <a:gd name="connsiteY4" fmla="*/ 8921 h 355689"/>
                  <a:gd name="connsiteX0" fmla="*/ 276550 w 2664257"/>
                  <a:gd name="connsiteY0" fmla="*/ 8921 h 355689"/>
                  <a:gd name="connsiteX1" fmla="*/ 2664257 w 2664257"/>
                  <a:gd name="connsiteY1" fmla="*/ 0 h 355689"/>
                  <a:gd name="connsiteX2" fmla="*/ 2664257 w 2664257"/>
                  <a:gd name="connsiteY2" fmla="*/ 355689 h 355689"/>
                  <a:gd name="connsiteX3" fmla="*/ 0 w 2664257"/>
                  <a:gd name="connsiteY3" fmla="*/ 346768 h 355689"/>
                  <a:gd name="connsiteX4" fmla="*/ 276550 w 2664257"/>
                  <a:gd name="connsiteY4" fmla="*/ 8921 h 355689"/>
                  <a:gd name="connsiteX0" fmla="*/ 276550 w 2664257"/>
                  <a:gd name="connsiteY0" fmla="*/ 4461 h 351229"/>
                  <a:gd name="connsiteX1" fmla="*/ 2213747 w 2664257"/>
                  <a:gd name="connsiteY1" fmla="*/ 0 h 351229"/>
                  <a:gd name="connsiteX2" fmla="*/ 2664257 w 2664257"/>
                  <a:gd name="connsiteY2" fmla="*/ 351229 h 351229"/>
                  <a:gd name="connsiteX3" fmla="*/ 0 w 2664257"/>
                  <a:gd name="connsiteY3" fmla="*/ 342308 h 351229"/>
                  <a:gd name="connsiteX4" fmla="*/ 276550 w 2664257"/>
                  <a:gd name="connsiteY4" fmla="*/ 4461 h 351229"/>
                  <a:gd name="connsiteX0" fmla="*/ 276550 w 2485837"/>
                  <a:gd name="connsiteY0" fmla="*/ 4461 h 346768"/>
                  <a:gd name="connsiteX1" fmla="*/ 2213747 w 2485837"/>
                  <a:gd name="connsiteY1" fmla="*/ 0 h 346768"/>
                  <a:gd name="connsiteX2" fmla="*/ 2485837 w 2485837"/>
                  <a:gd name="connsiteY2" fmla="*/ 346768 h 346768"/>
                  <a:gd name="connsiteX3" fmla="*/ 0 w 2485837"/>
                  <a:gd name="connsiteY3" fmla="*/ 342308 h 346768"/>
                  <a:gd name="connsiteX4" fmla="*/ 276550 w 2485837"/>
                  <a:gd name="connsiteY4" fmla="*/ 4461 h 346768"/>
                  <a:gd name="connsiteX0" fmla="*/ 276550 w 2485837"/>
                  <a:gd name="connsiteY0" fmla="*/ 1 h 342308"/>
                  <a:gd name="connsiteX1" fmla="*/ 2186984 w 2485837"/>
                  <a:gd name="connsiteY1" fmla="*/ 0 h 342308"/>
                  <a:gd name="connsiteX2" fmla="*/ 2485837 w 2485837"/>
                  <a:gd name="connsiteY2" fmla="*/ 342308 h 342308"/>
                  <a:gd name="connsiteX3" fmla="*/ 0 w 2485837"/>
                  <a:gd name="connsiteY3" fmla="*/ 337848 h 342308"/>
                  <a:gd name="connsiteX4" fmla="*/ 276550 w 2485837"/>
                  <a:gd name="connsiteY4" fmla="*/ 1 h 34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837" h="342308">
                    <a:moveTo>
                      <a:pt x="276550" y="1"/>
                    </a:moveTo>
                    <a:lnTo>
                      <a:pt x="2186984" y="0"/>
                    </a:lnTo>
                    <a:lnTo>
                      <a:pt x="2485837" y="342308"/>
                    </a:lnTo>
                    <a:lnTo>
                      <a:pt x="0" y="337848"/>
                    </a:lnTo>
                    <a:lnTo>
                      <a:pt x="276550" y="1"/>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50" name="Group 49"/>
              <p:cNvGrpSpPr/>
              <p:nvPr/>
            </p:nvGrpSpPr>
            <p:grpSpPr>
              <a:xfrm flipH="1">
                <a:off x="9251849" y="4235118"/>
                <a:ext cx="2508365" cy="1356398"/>
                <a:chOff x="9610804" y="4481600"/>
                <a:chExt cx="2567274" cy="1388256"/>
              </a:xfrm>
            </p:grpSpPr>
            <p:grpSp>
              <p:nvGrpSpPr>
                <p:cNvPr id="52" name="Group 51"/>
                <p:cNvGrpSpPr/>
                <p:nvPr/>
              </p:nvGrpSpPr>
              <p:grpSpPr>
                <a:xfrm>
                  <a:off x="9610804" y="4481600"/>
                  <a:ext cx="2567274" cy="666918"/>
                  <a:chOff x="9476996" y="4481599"/>
                  <a:chExt cx="2713388" cy="704875"/>
                </a:xfrm>
                <a:solidFill>
                  <a:schemeClr val="bg2"/>
                </a:solidFill>
              </p:grpSpPr>
              <p:sp>
                <p:nvSpPr>
                  <p:cNvPr id="73" name="Rectangle 72"/>
                  <p:cNvSpPr/>
                  <p:nvPr/>
                </p:nvSpPr>
                <p:spPr bwMode="auto">
                  <a:xfrm>
                    <a:off x="9476996" y="4481599"/>
                    <a:ext cx="704875" cy="70487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4" name="Rectangle 73"/>
                  <p:cNvSpPr/>
                  <p:nvPr/>
                </p:nvSpPr>
                <p:spPr bwMode="auto">
                  <a:xfrm>
                    <a:off x="10241657"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5" name="Rectangle 74"/>
                  <p:cNvSpPr/>
                  <p:nvPr/>
                </p:nvSpPr>
                <p:spPr bwMode="auto">
                  <a:xfrm>
                    <a:off x="11006318"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6" name="Rectangle 123"/>
                  <p:cNvSpPr/>
                  <p:nvPr/>
                </p:nvSpPr>
                <p:spPr bwMode="auto">
                  <a:xfrm>
                    <a:off x="11770980" y="4481599"/>
                    <a:ext cx="419404"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281129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04" h="704875">
                        <a:moveTo>
                          <a:pt x="0" y="0"/>
                        </a:moveTo>
                        <a:lnTo>
                          <a:pt x="281129" y="0"/>
                        </a:lnTo>
                        <a:cubicBezTo>
                          <a:pt x="327221" y="233471"/>
                          <a:pt x="413457" y="355431"/>
                          <a:pt x="419404" y="70041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58" name="Group 57"/>
                <p:cNvGrpSpPr/>
                <p:nvPr/>
              </p:nvGrpSpPr>
              <p:grpSpPr>
                <a:xfrm>
                  <a:off x="9610804" y="5202938"/>
                  <a:ext cx="2558833" cy="666918"/>
                  <a:chOff x="9469082" y="4427995"/>
                  <a:chExt cx="2704467" cy="704875"/>
                </a:xfrm>
                <a:solidFill>
                  <a:schemeClr val="bg2"/>
                </a:solidFill>
              </p:grpSpPr>
              <p:sp>
                <p:nvSpPr>
                  <p:cNvPr id="59" name="Rectangle 58"/>
                  <p:cNvSpPr/>
                  <p:nvPr/>
                </p:nvSpPr>
                <p:spPr bwMode="auto">
                  <a:xfrm>
                    <a:off x="946908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0" name="Rectangle 59"/>
                  <p:cNvSpPr/>
                  <p:nvPr/>
                </p:nvSpPr>
                <p:spPr bwMode="auto">
                  <a:xfrm>
                    <a:off x="1023374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1" name="Rectangle 70"/>
                  <p:cNvSpPr/>
                  <p:nvPr/>
                </p:nvSpPr>
                <p:spPr bwMode="auto">
                  <a:xfrm>
                    <a:off x="10998403"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2" name="Rectangle 131"/>
                  <p:cNvSpPr/>
                  <p:nvPr/>
                </p:nvSpPr>
                <p:spPr bwMode="auto">
                  <a:xfrm>
                    <a:off x="11763066" y="4427995"/>
                    <a:ext cx="410483"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3382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 h 704875"/>
                      <a:gd name="connsiteX2" fmla="*/ 704875 w 704875"/>
                      <a:gd name="connsiteY2" fmla="*/ 704875 h 704875"/>
                      <a:gd name="connsiteX3" fmla="*/ 0 w 704875"/>
                      <a:gd name="connsiteY3" fmla="*/ 704875 h 704875"/>
                      <a:gd name="connsiteX4" fmla="*/ 0 w 704875"/>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38393 w 410483"/>
                      <a:gd name="connsiteY2" fmla="*/ 695954 h 704875"/>
                      <a:gd name="connsiteX3" fmla="*/ 0 w 410483"/>
                      <a:gd name="connsiteY3" fmla="*/ 704875 h 704875"/>
                      <a:gd name="connsiteX4" fmla="*/ 0 w 410483"/>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483" h="704875">
                        <a:moveTo>
                          <a:pt x="0" y="0"/>
                        </a:moveTo>
                        <a:lnTo>
                          <a:pt x="410483" y="1"/>
                        </a:lnTo>
                        <a:cubicBezTo>
                          <a:pt x="325734" y="231985"/>
                          <a:pt x="303430" y="441667"/>
                          <a:pt x="138393" y="69595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sp>
            <p:nvSpPr>
              <p:cNvPr id="51" name="Oval 50"/>
              <p:cNvSpPr/>
              <p:nvPr/>
            </p:nvSpPr>
            <p:spPr bwMode="auto">
              <a:xfrm>
                <a:off x="9269282" y="3296296"/>
                <a:ext cx="2879702" cy="2879702"/>
              </a:xfrm>
              <a:prstGeom prst="ellipse">
                <a:avLst/>
              </a:prstGeom>
              <a:no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47" name="Freeform 5"/>
            <p:cNvSpPr>
              <a:spLocks/>
            </p:cNvSpPr>
            <p:nvPr/>
          </p:nvSpPr>
          <p:spPr bwMode="auto">
            <a:xfrm>
              <a:off x="9741245" y="4676946"/>
              <a:ext cx="1016966" cy="1388095"/>
            </a:xfrm>
            <a:custGeom>
              <a:avLst/>
              <a:gdLst>
                <a:gd name="T0" fmla="*/ 687 w 954"/>
                <a:gd name="T1" fmla="*/ 525 h 1304"/>
                <a:gd name="T2" fmla="*/ 685 w 954"/>
                <a:gd name="T3" fmla="*/ 525 h 1304"/>
                <a:gd name="T4" fmla="*/ 651 w 954"/>
                <a:gd name="T5" fmla="*/ 523 h 1304"/>
                <a:gd name="T6" fmla="*/ 632 w 954"/>
                <a:gd name="T7" fmla="*/ 490 h 1304"/>
                <a:gd name="T8" fmla="*/ 621 w 954"/>
                <a:gd name="T9" fmla="*/ 475 h 1304"/>
                <a:gd name="T10" fmla="*/ 521 w 954"/>
                <a:gd name="T11" fmla="*/ 438 h 1304"/>
                <a:gd name="T12" fmla="*/ 488 w 954"/>
                <a:gd name="T13" fmla="*/ 445 h 1304"/>
                <a:gd name="T14" fmla="*/ 488 w 954"/>
                <a:gd name="T15" fmla="*/ 442 h 1304"/>
                <a:gd name="T16" fmla="*/ 488 w 954"/>
                <a:gd name="T17" fmla="*/ 440 h 1304"/>
                <a:gd name="T18" fmla="*/ 384 w 954"/>
                <a:gd name="T19" fmla="*/ 49 h 1304"/>
                <a:gd name="T20" fmla="*/ 318 w 954"/>
                <a:gd name="T21" fmla="*/ 4 h 1304"/>
                <a:gd name="T22" fmla="*/ 275 w 954"/>
                <a:gd name="T23" fmla="*/ 71 h 1304"/>
                <a:gd name="T24" fmla="*/ 377 w 954"/>
                <a:gd name="T25" fmla="*/ 617 h 1304"/>
                <a:gd name="T26" fmla="*/ 379 w 954"/>
                <a:gd name="T27" fmla="*/ 636 h 1304"/>
                <a:gd name="T28" fmla="*/ 353 w 954"/>
                <a:gd name="T29" fmla="*/ 703 h 1304"/>
                <a:gd name="T30" fmla="*/ 337 w 954"/>
                <a:gd name="T31" fmla="*/ 715 h 1304"/>
                <a:gd name="T32" fmla="*/ 251 w 954"/>
                <a:gd name="T33" fmla="*/ 693 h 1304"/>
                <a:gd name="T34" fmla="*/ 178 w 954"/>
                <a:gd name="T35" fmla="*/ 589 h 1304"/>
                <a:gd name="T36" fmla="*/ 142 w 954"/>
                <a:gd name="T37" fmla="*/ 532 h 1304"/>
                <a:gd name="T38" fmla="*/ 22 w 954"/>
                <a:gd name="T39" fmla="*/ 509 h 1304"/>
                <a:gd name="T40" fmla="*/ 10 w 954"/>
                <a:gd name="T41" fmla="*/ 554 h 1304"/>
                <a:gd name="T42" fmla="*/ 52 w 954"/>
                <a:gd name="T43" fmla="*/ 615 h 1304"/>
                <a:gd name="T44" fmla="*/ 74 w 954"/>
                <a:gd name="T45" fmla="*/ 670 h 1304"/>
                <a:gd name="T46" fmla="*/ 90 w 954"/>
                <a:gd name="T47" fmla="*/ 722 h 1304"/>
                <a:gd name="T48" fmla="*/ 116 w 954"/>
                <a:gd name="T49" fmla="*/ 762 h 1304"/>
                <a:gd name="T50" fmla="*/ 166 w 954"/>
                <a:gd name="T51" fmla="*/ 845 h 1304"/>
                <a:gd name="T52" fmla="*/ 249 w 954"/>
                <a:gd name="T53" fmla="*/ 999 h 1304"/>
                <a:gd name="T54" fmla="*/ 403 w 954"/>
                <a:gd name="T55" fmla="*/ 1136 h 1304"/>
                <a:gd name="T56" fmla="*/ 457 w 954"/>
                <a:gd name="T57" fmla="*/ 1190 h 1304"/>
                <a:gd name="T58" fmla="*/ 479 w 954"/>
                <a:gd name="T59" fmla="*/ 1304 h 1304"/>
                <a:gd name="T60" fmla="*/ 933 w 954"/>
                <a:gd name="T61" fmla="*/ 1226 h 1304"/>
                <a:gd name="T62" fmla="*/ 912 w 954"/>
                <a:gd name="T63" fmla="*/ 1129 h 1304"/>
                <a:gd name="T64" fmla="*/ 909 w 954"/>
                <a:gd name="T65" fmla="*/ 1126 h 1304"/>
                <a:gd name="T66" fmla="*/ 931 w 954"/>
                <a:gd name="T67" fmla="*/ 1053 h 1304"/>
                <a:gd name="T68" fmla="*/ 940 w 954"/>
                <a:gd name="T69" fmla="*/ 991 h 1304"/>
                <a:gd name="T70" fmla="*/ 947 w 954"/>
                <a:gd name="T71" fmla="*/ 831 h 1304"/>
                <a:gd name="T72" fmla="*/ 950 w 954"/>
                <a:gd name="T73" fmla="*/ 802 h 1304"/>
                <a:gd name="T74" fmla="*/ 872 w 954"/>
                <a:gd name="T75" fmla="*/ 684 h 1304"/>
                <a:gd name="T76" fmla="*/ 869 w 954"/>
                <a:gd name="T77" fmla="*/ 681 h 1304"/>
                <a:gd name="T78" fmla="*/ 805 w 954"/>
                <a:gd name="T79" fmla="*/ 589 h 1304"/>
                <a:gd name="T80" fmla="*/ 687 w 954"/>
                <a:gd name="T81" fmla="*/ 525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1304">
                  <a:moveTo>
                    <a:pt x="687" y="525"/>
                  </a:moveTo>
                  <a:cubicBezTo>
                    <a:pt x="685" y="525"/>
                    <a:pt x="685" y="525"/>
                    <a:pt x="685" y="525"/>
                  </a:cubicBezTo>
                  <a:cubicBezTo>
                    <a:pt x="651" y="523"/>
                    <a:pt x="651" y="523"/>
                    <a:pt x="651" y="523"/>
                  </a:cubicBezTo>
                  <a:cubicBezTo>
                    <a:pt x="632" y="490"/>
                    <a:pt x="632" y="490"/>
                    <a:pt x="632" y="490"/>
                  </a:cubicBezTo>
                  <a:cubicBezTo>
                    <a:pt x="628" y="485"/>
                    <a:pt x="625" y="480"/>
                    <a:pt x="621" y="475"/>
                  </a:cubicBezTo>
                  <a:cubicBezTo>
                    <a:pt x="592" y="452"/>
                    <a:pt x="559" y="438"/>
                    <a:pt x="521" y="438"/>
                  </a:cubicBezTo>
                  <a:cubicBezTo>
                    <a:pt x="488" y="445"/>
                    <a:pt x="488" y="445"/>
                    <a:pt x="488" y="445"/>
                  </a:cubicBezTo>
                  <a:cubicBezTo>
                    <a:pt x="488" y="442"/>
                    <a:pt x="488" y="442"/>
                    <a:pt x="488" y="442"/>
                  </a:cubicBezTo>
                  <a:cubicBezTo>
                    <a:pt x="488" y="440"/>
                    <a:pt x="488" y="440"/>
                    <a:pt x="488" y="440"/>
                  </a:cubicBezTo>
                  <a:cubicBezTo>
                    <a:pt x="384" y="49"/>
                    <a:pt x="384" y="49"/>
                    <a:pt x="384" y="49"/>
                  </a:cubicBezTo>
                  <a:cubicBezTo>
                    <a:pt x="370" y="0"/>
                    <a:pt x="346" y="0"/>
                    <a:pt x="318" y="4"/>
                  </a:cubicBezTo>
                  <a:cubicBezTo>
                    <a:pt x="318" y="4"/>
                    <a:pt x="263" y="12"/>
                    <a:pt x="275" y="71"/>
                  </a:cubicBezTo>
                  <a:cubicBezTo>
                    <a:pt x="377" y="617"/>
                    <a:pt x="377" y="617"/>
                    <a:pt x="377" y="617"/>
                  </a:cubicBezTo>
                  <a:cubicBezTo>
                    <a:pt x="377" y="625"/>
                    <a:pt x="379" y="629"/>
                    <a:pt x="379" y="636"/>
                  </a:cubicBezTo>
                  <a:cubicBezTo>
                    <a:pt x="379" y="660"/>
                    <a:pt x="370" y="684"/>
                    <a:pt x="353" y="703"/>
                  </a:cubicBezTo>
                  <a:cubicBezTo>
                    <a:pt x="348" y="710"/>
                    <a:pt x="341" y="715"/>
                    <a:pt x="337" y="715"/>
                  </a:cubicBezTo>
                  <a:cubicBezTo>
                    <a:pt x="306" y="719"/>
                    <a:pt x="277" y="712"/>
                    <a:pt x="251" y="693"/>
                  </a:cubicBezTo>
                  <a:cubicBezTo>
                    <a:pt x="221" y="670"/>
                    <a:pt x="199" y="620"/>
                    <a:pt x="178" y="589"/>
                  </a:cubicBezTo>
                  <a:cubicBezTo>
                    <a:pt x="166" y="570"/>
                    <a:pt x="157" y="549"/>
                    <a:pt x="142" y="532"/>
                  </a:cubicBezTo>
                  <a:cubicBezTo>
                    <a:pt x="114" y="504"/>
                    <a:pt x="57" y="480"/>
                    <a:pt x="22" y="509"/>
                  </a:cubicBezTo>
                  <a:cubicBezTo>
                    <a:pt x="12" y="518"/>
                    <a:pt x="0" y="542"/>
                    <a:pt x="10" y="554"/>
                  </a:cubicBezTo>
                  <a:cubicBezTo>
                    <a:pt x="24" y="573"/>
                    <a:pt x="43" y="594"/>
                    <a:pt x="52" y="615"/>
                  </a:cubicBezTo>
                  <a:cubicBezTo>
                    <a:pt x="62" y="632"/>
                    <a:pt x="67" y="651"/>
                    <a:pt x="74" y="670"/>
                  </a:cubicBezTo>
                  <a:cubicBezTo>
                    <a:pt x="78" y="681"/>
                    <a:pt x="81" y="712"/>
                    <a:pt x="90" y="722"/>
                  </a:cubicBezTo>
                  <a:cubicBezTo>
                    <a:pt x="100" y="731"/>
                    <a:pt x="109" y="750"/>
                    <a:pt x="116" y="762"/>
                  </a:cubicBezTo>
                  <a:cubicBezTo>
                    <a:pt x="133" y="788"/>
                    <a:pt x="157" y="816"/>
                    <a:pt x="166" y="845"/>
                  </a:cubicBezTo>
                  <a:cubicBezTo>
                    <a:pt x="199" y="892"/>
                    <a:pt x="213" y="954"/>
                    <a:pt x="249" y="999"/>
                  </a:cubicBezTo>
                  <a:cubicBezTo>
                    <a:pt x="294" y="1053"/>
                    <a:pt x="337" y="1105"/>
                    <a:pt x="403" y="1136"/>
                  </a:cubicBezTo>
                  <a:cubicBezTo>
                    <a:pt x="426" y="1150"/>
                    <a:pt x="443" y="1169"/>
                    <a:pt x="457" y="1190"/>
                  </a:cubicBezTo>
                  <a:cubicBezTo>
                    <a:pt x="479" y="1304"/>
                    <a:pt x="479" y="1304"/>
                    <a:pt x="479" y="1304"/>
                  </a:cubicBezTo>
                  <a:cubicBezTo>
                    <a:pt x="561" y="1290"/>
                    <a:pt x="898" y="1233"/>
                    <a:pt x="933" y="1226"/>
                  </a:cubicBezTo>
                  <a:cubicBezTo>
                    <a:pt x="912" y="1129"/>
                    <a:pt x="912" y="1129"/>
                    <a:pt x="912" y="1129"/>
                  </a:cubicBezTo>
                  <a:cubicBezTo>
                    <a:pt x="909" y="1126"/>
                    <a:pt x="909" y="1126"/>
                    <a:pt x="909" y="1126"/>
                  </a:cubicBezTo>
                  <a:cubicBezTo>
                    <a:pt x="919" y="1103"/>
                    <a:pt x="924" y="1077"/>
                    <a:pt x="931" y="1053"/>
                  </a:cubicBezTo>
                  <a:cubicBezTo>
                    <a:pt x="936" y="1032"/>
                    <a:pt x="940" y="1013"/>
                    <a:pt x="940" y="991"/>
                  </a:cubicBezTo>
                  <a:cubicBezTo>
                    <a:pt x="943" y="939"/>
                    <a:pt x="945" y="885"/>
                    <a:pt x="947" y="831"/>
                  </a:cubicBezTo>
                  <a:cubicBezTo>
                    <a:pt x="947" y="821"/>
                    <a:pt x="947" y="812"/>
                    <a:pt x="950" y="802"/>
                  </a:cubicBezTo>
                  <a:cubicBezTo>
                    <a:pt x="954" y="771"/>
                    <a:pt x="936" y="688"/>
                    <a:pt x="872" y="684"/>
                  </a:cubicBezTo>
                  <a:cubicBezTo>
                    <a:pt x="869" y="684"/>
                    <a:pt x="869" y="684"/>
                    <a:pt x="869" y="681"/>
                  </a:cubicBezTo>
                  <a:cubicBezTo>
                    <a:pt x="853" y="648"/>
                    <a:pt x="831" y="617"/>
                    <a:pt x="805" y="589"/>
                  </a:cubicBezTo>
                  <a:cubicBezTo>
                    <a:pt x="775" y="556"/>
                    <a:pt x="732" y="532"/>
                    <a:pt x="687" y="525"/>
                  </a:cubicBezTo>
                  <a:close/>
                </a:path>
              </a:pathLst>
            </a:custGeom>
            <a:solidFill>
              <a:schemeClr val="bg2"/>
            </a:solidFill>
            <a:ln w="285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 name="Rectangle 2"/>
          <p:cNvSpPr/>
          <p:nvPr/>
        </p:nvSpPr>
        <p:spPr>
          <a:xfrm>
            <a:off x="281514" y="3818756"/>
            <a:ext cx="4142681" cy="572464"/>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Manage you account</a:t>
            </a:r>
            <a:endParaRPr lang="en-US" sz="2000" spc="-90" dirty="0">
              <a:gradFill>
                <a:gsLst>
                  <a:gs pos="3670">
                    <a:srgbClr val="505050"/>
                  </a:gs>
                  <a:gs pos="100000">
                    <a:srgbClr val="505050"/>
                  </a:gs>
                </a:gsLst>
                <a:lin ang="5400000" scaled="0"/>
              </a:gradFill>
            </a:endParaRPr>
          </a:p>
        </p:txBody>
      </p:sp>
      <p:sp>
        <p:nvSpPr>
          <p:cNvPr id="16" name="Rectangle 15"/>
          <p:cNvSpPr/>
          <p:nvPr/>
        </p:nvSpPr>
        <p:spPr>
          <a:xfrm>
            <a:off x="281515" y="2128631"/>
            <a:ext cx="4051829" cy="1557349"/>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smtClean="0">
                <a:gradFill>
                  <a:gsLst>
                    <a:gs pos="3670">
                      <a:srgbClr val="505050"/>
                    </a:gs>
                    <a:gs pos="100000">
                      <a:srgbClr val="505050"/>
                    </a:gs>
                  </a:gsLst>
                  <a:lin ang="5400000" scaled="0"/>
                </a:gradFill>
              </a:rPr>
              <a:t>Company branded, personalized application Access Panel : </a:t>
            </a:r>
          </a:p>
          <a:p>
            <a:pPr defTabSz="914099" fontAlgn="base">
              <a:lnSpc>
                <a:spcPct val="90000"/>
              </a:lnSpc>
              <a:spcBef>
                <a:spcPts val="600"/>
              </a:spcBef>
              <a:spcAft>
                <a:spcPct val="0"/>
              </a:spcAft>
            </a:pPr>
            <a:r>
              <a:rPr lang="en-US" sz="2000" spc="-90" dirty="0" smtClean="0">
                <a:solidFill>
                  <a:srgbClr val="0072C6">
                    <a:lumMod val="75000"/>
                  </a:srgbClr>
                </a:solidFill>
              </a:rPr>
              <a:t>http://myapps.microsoft.com</a:t>
            </a:r>
          </a:p>
          <a:p>
            <a:pPr defTabSz="914099" fontAlgn="base">
              <a:lnSpc>
                <a:spcPct val="90000"/>
              </a:lnSpc>
              <a:spcBef>
                <a:spcPts val="600"/>
              </a:spcBef>
              <a:spcAft>
                <a:spcPct val="0"/>
              </a:spcAft>
            </a:pPr>
            <a:r>
              <a:rPr lang="en-US" sz="2000" spc="-90" dirty="0" smtClean="0">
                <a:gradFill>
                  <a:gsLst>
                    <a:gs pos="3670">
                      <a:srgbClr val="505050"/>
                    </a:gs>
                    <a:gs pos="100000">
                      <a:srgbClr val="505050"/>
                    </a:gs>
                  </a:gsLst>
                  <a:lin ang="5400000" scaled="0"/>
                </a:gradFill>
              </a:rPr>
              <a:t>+ Mobile Apps</a:t>
            </a:r>
            <a:endParaRPr lang="en-US" sz="2000" spc="-90" dirty="0">
              <a:gradFill>
                <a:gsLst>
                  <a:gs pos="3670">
                    <a:srgbClr val="505050"/>
                  </a:gs>
                  <a:gs pos="100000">
                    <a:srgbClr val="505050"/>
                  </a:gs>
                </a:gsLst>
                <a:lin ang="5400000" scaled="0"/>
              </a:gradFill>
            </a:endParaRPr>
          </a:p>
        </p:txBody>
      </p:sp>
      <p:sp useBgFill="1">
        <p:nvSpPr>
          <p:cNvPr id="81" name="Rectangle 80"/>
          <p:cNvSpPr/>
          <p:nvPr/>
        </p:nvSpPr>
        <p:spPr bwMode="auto">
          <a:xfrm>
            <a:off x="12161838" y="1504950"/>
            <a:ext cx="268190" cy="54006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9588" y="2261455"/>
            <a:ext cx="4795339" cy="3221092"/>
          </a:xfrm>
          <a:prstGeom prst="rect">
            <a:avLst/>
          </a:prstGeom>
        </p:spPr>
      </p:pic>
      <p:grpSp>
        <p:nvGrpSpPr>
          <p:cNvPr id="40" name="Group 39"/>
          <p:cNvGrpSpPr/>
          <p:nvPr/>
        </p:nvGrpSpPr>
        <p:grpSpPr>
          <a:xfrm>
            <a:off x="4604541" y="2556426"/>
            <a:ext cx="1644345" cy="2394079"/>
            <a:chOff x="4604541" y="2556426"/>
            <a:chExt cx="1644345" cy="2394079"/>
          </a:xfrm>
        </p:grpSpPr>
        <p:pic>
          <p:nvPicPr>
            <p:cNvPr id="41" name="Picture 40"/>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664192" y="2679286"/>
              <a:ext cx="1485147" cy="2181560"/>
            </a:xfrm>
            <a:prstGeom prst="rect">
              <a:avLst/>
            </a:prstGeom>
          </p:spPr>
        </p:pic>
        <p:sp>
          <p:nvSpPr>
            <p:cNvPr id="42" name="Freeform 5"/>
            <p:cNvSpPr>
              <a:spLocks noEditPoints="1"/>
            </p:cNvSpPr>
            <p:nvPr/>
          </p:nvSpPr>
          <p:spPr bwMode="auto">
            <a:xfrm rot="5400000">
              <a:off x="4229674" y="2931293"/>
              <a:ext cx="2394079" cy="1644345"/>
            </a:xfrm>
            <a:custGeom>
              <a:avLst/>
              <a:gdLst>
                <a:gd name="T0" fmla="*/ 2084 w 2153"/>
                <a:gd name="T1" fmla="*/ 0 h 1514"/>
                <a:gd name="T2" fmla="*/ 69 w 2153"/>
                <a:gd name="T3" fmla="*/ 0 h 1514"/>
                <a:gd name="T4" fmla="*/ 0 w 2153"/>
                <a:gd name="T5" fmla="*/ 69 h 1514"/>
                <a:gd name="T6" fmla="*/ 0 w 2153"/>
                <a:gd name="T7" fmla="*/ 1445 h 1514"/>
                <a:gd name="T8" fmla="*/ 69 w 2153"/>
                <a:gd name="T9" fmla="*/ 1514 h 1514"/>
                <a:gd name="T10" fmla="*/ 2084 w 2153"/>
                <a:gd name="T11" fmla="*/ 1514 h 1514"/>
                <a:gd name="T12" fmla="*/ 2153 w 2153"/>
                <a:gd name="T13" fmla="*/ 1445 h 1514"/>
                <a:gd name="T14" fmla="*/ 2153 w 2153"/>
                <a:gd name="T15" fmla="*/ 69 h 1514"/>
                <a:gd name="T16" fmla="*/ 2084 w 2153"/>
                <a:gd name="T17" fmla="*/ 0 h 1514"/>
                <a:gd name="T18" fmla="*/ 2031 w 2153"/>
                <a:gd name="T19" fmla="*/ 1336 h 1514"/>
                <a:gd name="T20" fmla="*/ 1970 w 2153"/>
                <a:gd name="T21" fmla="*/ 1393 h 1514"/>
                <a:gd name="T22" fmla="*/ 183 w 2153"/>
                <a:gd name="T23" fmla="*/ 1393 h 1514"/>
                <a:gd name="T24" fmla="*/ 122 w 2153"/>
                <a:gd name="T25" fmla="*/ 1336 h 1514"/>
                <a:gd name="T26" fmla="*/ 122 w 2153"/>
                <a:gd name="T27" fmla="*/ 182 h 1514"/>
                <a:gd name="T28" fmla="*/ 183 w 2153"/>
                <a:gd name="T29" fmla="*/ 121 h 1514"/>
                <a:gd name="T30" fmla="*/ 1970 w 2153"/>
                <a:gd name="T31" fmla="*/ 121 h 1514"/>
                <a:gd name="T32" fmla="*/ 2031 w 2153"/>
                <a:gd name="T33" fmla="*/ 182 h 1514"/>
                <a:gd name="T34" fmla="*/ 2031 w 2153"/>
                <a:gd name="T35" fmla="*/ 1336 h 1514"/>
                <a:gd name="T36" fmla="*/ 2031 w 2153"/>
                <a:gd name="T37" fmla="*/ 1336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3" h="1514">
                  <a:moveTo>
                    <a:pt x="2084" y="0"/>
                  </a:moveTo>
                  <a:cubicBezTo>
                    <a:pt x="69" y="0"/>
                    <a:pt x="69" y="0"/>
                    <a:pt x="69" y="0"/>
                  </a:cubicBezTo>
                  <a:cubicBezTo>
                    <a:pt x="29" y="0"/>
                    <a:pt x="0" y="32"/>
                    <a:pt x="0" y="69"/>
                  </a:cubicBezTo>
                  <a:cubicBezTo>
                    <a:pt x="0" y="1445"/>
                    <a:pt x="0" y="1445"/>
                    <a:pt x="0" y="1445"/>
                  </a:cubicBezTo>
                  <a:cubicBezTo>
                    <a:pt x="0" y="1486"/>
                    <a:pt x="29" y="1514"/>
                    <a:pt x="69" y="1514"/>
                  </a:cubicBezTo>
                  <a:cubicBezTo>
                    <a:pt x="2084" y="1514"/>
                    <a:pt x="2084" y="1514"/>
                    <a:pt x="2084" y="1514"/>
                  </a:cubicBezTo>
                  <a:cubicBezTo>
                    <a:pt x="2124" y="1514"/>
                    <a:pt x="2153" y="1486"/>
                    <a:pt x="2153" y="1445"/>
                  </a:cubicBezTo>
                  <a:cubicBezTo>
                    <a:pt x="2153" y="69"/>
                    <a:pt x="2153" y="69"/>
                    <a:pt x="2153" y="69"/>
                  </a:cubicBezTo>
                  <a:cubicBezTo>
                    <a:pt x="2153" y="32"/>
                    <a:pt x="2124" y="0"/>
                    <a:pt x="2084" y="0"/>
                  </a:cubicBezTo>
                  <a:close/>
                  <a:moveTo>
                    <a:pt x="2031" y="1336"/>
                  </a:moveTo>
                  <a:cubicBezTo>
                    <a:pt x="2031" y="1368"/>
                    <a:pt x="2003" y="1393"/>
                    <a:pt x="1970" y="1393"/>
                  </a:cubicBezTo>
                  <a:cubicBezTo>
                    <a:pt x="183" y="1393"/>
                    <a:pt x="183" y="1393"/>
                    <a:pt x="183" y="1393"/>
                  </a:cubicBezTo>
                  <a:cubicBezTo>
                    <a:pt x="150" y="1393"/>
                    <a:pt x="122" y="1368"/>
                    <a:pt x="122" y="1336"/>
                  </a:cubicBezTo>
                  <a:cubicBezTo>
                    <a:pt x="122" y="182"/>
                    <a:pt x="122" y="182"/>
                    <a:pt x="122" y="182"/>
                  </a:cubicBezTo>
                  <a:cubicBezTo>
                    <a:pt x="122" y="150"/>
                    <a:pt x="150" y="121"/>
                    <a:pt x="183" y="121"/>
                  </a:cubicBezTo>
                  <a:cubicBezTo>
                    <a:pt x="1970" y="121"/>
                    <a:pt x="1970" y="121"/>
                    <a:pt x="1970" y="121"/>
                  </a:cubicBezTo>
                  <a:cubicBezTo>
                    <a:pt x="2003" y="121"/>
                    <a:pt x="2031" y="150"/>
                    <a:pt x="2031" y="182"/>
                  </a:cubicBezTo>
                  <a:cubicBezTo>
                    <a:pt x="2031" y="1336"/>
                    <a:pt x="2031" y="1336"/>
                    <a:pt x="2031" y="1336"/>
                  </a:cubicBezTo>
                  <a:cubicBezTo>
                    <a:pt x="2031" y="1336"/>
                    <a:pt x="2031" y="1336"/>
                    <a:pt x="2031" y="133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43" name="Group 42"/>
          <p:cNvGrpSpPr/>
          <p:nvPr/>
        </p:nvGrpSpPr>
        <p:grpSpPr>
          <a:xfrm>
            <a:off x="10844620" y="2663800"/>
            <a:ext cx="1165297" cy="2278013"/>
            <a:chOff x="10844620" y="2663800"/>
            <a:chExt cx="1165297" cy="2278013"/>
          </a:xfrm>
        </p:grpSpPr>
        <p:pic>
          <p:nvPicPr>
            <p:cNvPr id="44" name="Picture 4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0918825" y="3059113"/>
              <a:ext cx="1018652" cy="1499015"/>
            </a:xfrm>
            <a:prstGeom prst="rect">
              <a:avLst/>
            </a:prstGeom>
          </p:spPr>
        </p:pic>
        <p:sp>
          <p:nvSpPr>
            <p:cNvPr id="45" name="Freeform 5"/>
            <p:cNvSpPr>
              <a:spLocks noEditPoints="1"/>
            </p:cNvSpPr>
            <p:nvPr/>
          </p:nvSpPr>
          <p:spPr bwMode="auto">
            <a:xfrm>
              <a:off x="10844620" y="2663800"/>
              <a:ext cx="1165297" cy="2278013"/>
            </a:xfrm>
            <a:custGeom>
              <a:avLst/>
              <a:gdLst>
                <a:gd name="T0" fmla="*/ 984 w 1160"/>
                <a:gd name="T1" fmla="*/ 0 h 2271"/>
                <a:gd name="T2" fmla="*/ 176 w 1160"/>
                <a:gd name="T3" fmla="*/ 0 h 2271"/>
                <a:gd name="T4" fmla="*/ 0 w 1160"/>
                <a:gd name="T5" fmla="*/ 176 h 2271"/>
                <a:gd name="T6" fmla="*/ 0 w 1160"/>
                <a:gd name="T7" fmla="*/ 2095 h 2271"/>
                <a:gd name="T8" fmla="*/ 176 w 1160"/>
                <a:gd name="T9" fmla="*/ 2271 h 2271"/>
                <a:gd name="T10" fmla="*/ 984 w 1160"/>
                <a:gd name="T11" fmla="*/ 2271 h 2271"/>
                <a:gd name="T12" fmla="*/ 1160 w 1160"/>
                <a:gd name="T13" fmla="*/ 2095 h 2271"/>
                <a:gd name="T14" fmla="*/ 1160 w 1160"/>
                <a:gd name="T15" fmla="*/ 176 h 2271"/>
                <a:gd name="T16" fmla="*/ 984 w 1160"/>
                <a:gd name="T17" fmla="*/ 0 h 2271"/>
                <a:gd name="T18" fmla="*/ 495 w 1160"/>
                <a:gd name="T19" fmla="*/ 187 h 2271"/>
                <a:gd name="T20" fmla="*/ 665 w 1160"/>
                <a:gd name="T21" fmla="*/ 187 h 2271"/>
                <a:gd name="T22" fmla="*/ 694 w 1160"/>
                <a:gd name="T23" fmla="*/ 210 h 2271"/>
                <a:gd name="T24" fmla="*/ 665 w 1160"/>
                <a:gd name="T25" fmla="*/ 238 h 2271"/>
                <a:gd name="T26" fmla="*/ 495 w 1160"/>
                <a:gd name="T27" fmla="*/ 238 h 2271"/>
                <a:gd name="T28" fmla="*/ 466 w 1160"/>
                <a:gd name="T29" fmla="*/ 210 h 2271"/>
                <a:gd name="T30" fmla="*/ 495 w 1160"/>
                <a:gd name="T31" fmla="*/ 187 h 2271"/>
                <a:gd name="T32" fmla="*/ 392 w 1160"/>
                <a:gd name="T33" fmla="*/ 181 h 2271"/>
                <a:gd name="T34" fmla="*/ 421 w 1160"/>
                <a:gd name="T35" fmla="*/ 210 h 2271"/>
                <a:gd name="T36" fmla="*/ 392 w 1160"/>
                <a:gd name="T37" fmla="*/ 238 h 2271"/>
                <a:gd name="T38" fmla="*/ 364 w 1160"/>
                <a:gd name="T39" fmla="*/ 210 h 2271"/>
                <a:gd name="T40" fmla="*/ 392 w 1160"/>
                <a:gd name="T41" fmla="*/ 181 h 2271"/>
                <a:gd name="T42" fmla="*/ 580 w 1160"/>
                <a:gd name="T43" fmla="*/ 2175 h 2271"/>
                <a:gd name="T44" fmla="*/ 466 w 1160"/>
                <a:gd name="T45" fmla="*/ 2067 h 2271"/>
                <a:gd name="T46" fmla="*/ 580 w 1160"/>
                <a:gd name="T47" fmla="*/ 1953 h 2271"/>
                <a:gd name="T48" fmla="*/ 694 w 1160"/>
                <a:gd name="T49" fmla="*/ 2067 h 2271"/>
                <a:gd name="T50" fmla="*/ 580 w 1160"/>
                <a:gd name="T51" fmla="*/ 2175 h 2271"/>
                <a:gd name="T52" fmla="*/ 1069 w 1160"/>
                <a:gd name="T53" fmla="*/ 1874 h 2271"/>
                <a:gd name="T54" fmla="*/ 91 w 1160"/>
                <a:gd name="T55" fmla="*/ 1874 h 2271"/>
                <a:gd name="T56" fmla="*/ 91 w 1160"/>
                <a:gd name="T57" fmla="*/ 397 h 2271"/>
                <a:gd name="T58" fmla="*/ 1069 w 1160"/>
                <a:gd name="T59" fmla="*/ 397 h 2271"/>
                <a:gd name="T60" fmla="*/ 1069 w 1160"/>
                <a:gd name="T61" fmla="*/ 1874 h 2271"/>
                <a:gd name="T62" fmla="*/ 1069 w 1160"/>
                <a:gd name="T63" fmla="*/ 1874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0" h="2271">
                  <a:moveTo>
                    <a:pt x="984" y="0"/>
                  </a:moveTo>
                  <a:cubicBezTo>
                    <a:pt x="176" y="0"/>
                    <a:pt x="176" y="0"/>
                    <a:pt x="176" y="0"/>
                  </a:cubicBezTo>
                  <a:cubicBezTo>
                    <a:pt x="80" y="0"/>
                    <a:pt x="0" y="79"/>
                    <a:pt x="0" y="176"/>
                  </a:cubicBezTo>
                  <a:cubicBezTo>
                    <a:pt x="0" y="2095"/>
                    <a:pt x="0" y="2095"/>
                    <a:pt x="0" y="2095"/>
                  </a:cubicBezTo>
                  <a:cubicBezTo>
                    <a:pt x="0" y="2192"/>
                    <a:pt x="80" y="2271"/>
                    <a:pt x="176" y="2271"/>
                  </a:cubicBezTo>
                  <a:cubicBezTo>
                    <a:pt x="984" y="2271"/>
                    <a:pt x="984" y="2271"/>
                    <a:pt x="984" y="2271"/>
                  </a:cubicBezTo>
                  <a:cubicBezTo>
                    <a:pt x="1080" y="2271"/>
                    <a:pt x="1160" y="2192"/>
                    <a:pt x="1160" y="2095"/>
                  </a:cubicBezTo>
                  <a:cubicBezTo>
                    <a:pt x="1160" y="176"/>
                    <a:pt x="1160" y="176"/>
                    <a:pt x="1160" y="176"/>
                  </a:cubicBezTo>
                  <a:cubicBezTo>
                    <a:pt x="1160" y="79"/>
                    <a:pt x="1080" y="0"/>
                    <a:pt x="984" y="0"/>
                  </a:cubicBezTo>
                  <a:close/>
                  <a:moveTo>
                    <a:pt x="495" y="187"/>
                  </a:moveTo>
                  <a:cubicBezTo>
                    <a:pt x="665" y="187"/>
                    <a:pt x="665" y="187"/>
                    <a:pt x="665" y="187"/>
                  </a:cubicBezTo>
                  <a:cubicBezTo>
                    <a:pt x="682" y="187"/>
                    <a:pt x="694" y="198"/>
                    <a:pt x="694" y="210"/>
                  </a:cubicBezTo>
                  <a:cubicBezTo>
                    <a:pt x="694" y="227"/>
                    <a:pt x="682" y="238"/>
                    <a:pt x="665" y="238"/>
                  </a:cubicBezTo>
                  <a:cubicBezTo>
                    <a:pt x="495" y="238"/>
                    <a:pt x="495" y="238"/>
                    <a:pt x="495" y="238"/>
                  </a:cubicBezTo>
                  <a:cubicBezTo>
                    <a:pt x="478" y="238"/>
                    <a:pt x="466" y="227"/>
                    <a:pt x="466" y="210"/>
                  </a:cubicBezTo>
                  <a:cubicBezTo>
                    <a:pt x="466" y="198"/>
                    <a:pt x="478" y="187"/>
                    <a:pt x="495" y="187"/>
                  </a:cubicBezTo>
                  <a:close/>
                  <a:moveTo>
                    <a:pt x="392" y="181"/>
                  </a:moveTo>
                  <a:cubicBezTo>
                    <a:pt x="404" y="181"/>
                    <a:pt x="421" y="193"/>
                    <a:pt x="421" y="210"/>
                  </a:cubicBezTo>
                  <a:cubicBezTo>
                    <a:pt x="421" y="221"/>
                    <a:pt x="404" y="238"/>
                    <a:pt x="392" y="238"/>
                  </a:cubicBezTo>
                  <a:cubicBezTo>
                    <a:pt x="375" y="238"/>
                    <a:pt x="364" y="221"/>
                    <a:pt x="364" y="210"/>
                  </a:cubicBezTo>
                  <a:cubicBezTo>
                    <a:pt x="364" y="193"/>
                    <a:pt x="375" y="181"/>
                    <a:pt x="392" y="181"/>
                  </a:cubicBezTo>
                  <a:close/>
                  <a:moveTo>
                    <a:pt x="580" y="2175"/>
                  </a:moveTo>
                  <a:cubicBezTo>
                    <a:pt x="517" y="2175"/>
                    <a:pt x="466" y="2123"/>
                    <a:pt x="466" y="2067"/>
                  </a:cubicBezTo>
                  <a:cubicBezTo>
                    <a:pt x="466" y="2004"/>
                    <a:pt x="517" y="1953"/>
                    <a:pt x="580" y="1953"/>
                  </a:cubicBezTo>
                  <a:cubicBezTo>
                    <a:pt x="643" y="1953"/>
                    <a:pt x="694" y="2004"/>
                    <a:pt x="694" y="2067"/>
                  </a:cubicBezTo>
                  <a:cubicBezTo>
                    <a:pt x="694" y="2123"/>
                    <a:pt x="643" y="2175"/>
                    <a:pt x="580" y="2175"/>
                  </a:cubicBezTo>
                  <a:close/>
                  <a:moveTo>
                    <a:pt x="1069" y="1874"/>
                  </a:moveTo>
                  <a:cubicBezTo>
                    <a:pt x="91" y="1874"/>
                    <a:pt x="91" y="1874"/>
                    <a:pt x="91" y="1874"/>
                  </a:cubicBezTo>
                  <a:cubicBezTo>
                    <a:pt x="91" y="397"/>
                    <a:pt x="91" y="397"/>
                    <a:pt x="91" y="397"/>
                  </a:cubicBezTo>
                  <a:cubicBezTo>
                    <a:pt x="1069" y="397"/>
                    <a:pt x="1069" y="397"/>
                    <a:pt x="1069" y="397"/>
                  </a:cubicBezTo>
                  <a:cubicBezTo>
                    <a:pt x="1069" y="1874"/>
                    <a:pt x="1069" y="1874"/>
                    <a:pt x="1069" y="1874"/>
                  </a:cubicBezTo>
                  <a:cubicBezTo>
                    <a:pt x="1069" y="1874"/>
                    <a:pt x="1069" y="1874"/>
                    <a:pt x="1069" y="18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8" name="Freeform 13"/>
          <p:cNvSpPr>
            <a:spLocks/>
          </p:cNvSpPr>
          <p:nvPr/>
        </p:nvSpPr>
        <p:spPr bwMode="auto">
          <a:xfrm>
            <a:off x="12670025" y="2713487"/>
            <a:ext cx="2073887" cy="2831530"/>
          </a:xfrm>
          <a:custGeom>
            <a:avLst/>
            <a:gdLst>
              <a:gd name="T0" fmla="*/ 687 w 954"/>
              <a:gd name="T1" fmla="*/ 525 h 1304"/>
              <a:gd name="T2" fmla="*/ 684 w 954"/>
              <a:gd name="T3" fmla="*/ 525 h 1304"/>
              <a:gd name="T4" fmla="*/ 651 w 954"/>
              <a:gd name="T5" fmla="*/ 523 h 1304"/>
              <a:gd name="T6" fmla="*/ 632 w 954"/>
              <a:gd name="T7" fmla="*/ 490 h 1304"/>
              <a:gd name="T8" fmla="*/ 620 w 954"/>
              <a:gd name="T9" fmla="*/ 476 h 1304"/>
              <a:gd name="T10" fmla="*/ 521 w 954"/>
              <a:gd name="T11" fmla="*/ 438 h 1304"/>
              <a:gd name="T12" fmla="*/ 488 w 954"/>
              <a:gd name="T13" fmla="*/ 445 h 1304"/>
              <a:gd name="T14" fmla="*/ 488 w 954"/>
              <a:gd name="T15" fmla="*/ 443 h 1304"/>
              <a:gd name="T16" fmla="*/ 488 w 954"/>
              <a:gd name="T17" fmla="*/ 440 h 1304"/>
              <a:gd name="T18" fmla="*/ 384 w 954"/>
              <a:gd name="T19" fmla="*/ 50 h 1304"/>
              <a:gd name="T20" fmla="*/ 317 w 954"/>
              <a:gd name="T21" fmla="*/ 5 h 1304"/>
              <a:gd name="T22" fmla="*/ 275 w 954"/>
              <a:gd name="T23" fmla="*/ 71 h 1304"/>
              <a:gd name="T24" fmla="*/ 376 w 954"/>
              <a:gd name="T25" fmla="*/ 618 h 1304"/>
              <a:gd name="T26" fmla="*/ 379 w 954"/>
              <a:gd name="T27" fmla="*/ 637 h 1304"/>
              <a:gd name="T28" fmla="*/ 353 w 954"/>
              <a:gd name="T29" fmla="*/ 703 h 1304"/>
              <a:gd name="T30" fmla="*/ 336 w 954"/>
              <a:gd name="T31" fmla="*/ 715 h 1304"/>
              <a:gd name="T32" fmla="*/ 251 w 954"/>
              <a:gd name="T33" fmla="*/ 694 h 1304"/>
              <a:gd name="T34" fmla="*/ 178 w 954"/>
              <a:gd name="T35" fmla="*/ 589 h 1304"/>
              <a:gd name="T36" fmla="*/ 142 w 954"/>
              <a:gd name="T37" fmla="*/ 533 h 1304"/>
              <a:gd name="T38" fmla="*/ 21 w 954"/>
              <a:gd name="T39" fmla="*/ 509 h 1304"/>
              <a:gd name="T40" fmla="*/ 10 w 954"/>
              <a:gd name="T41" fmla="*/ 554 h 1304"/>
              <a:gd name="T42" fmla="*/ 52 w 954"/>
              <a:gd name="T43" fmla="*/ 615 h 1304"/>
              <a:gd name="T44" fmla="*/ 73 w 954"/>
              <a:gd name="T45" fmla="*/ 670 h 1304"/>
              <a:gd name="T46" fmla="*/ 90 w 954"/>
              <a:gd name="T47" fmla="*/ 722 h 1304"/>
              <a:gd name="T48" fmla="*/ 116 w 954"/>
              <a:gd name="T49" fmla="*/ 762 h 1304"/>
              <a:gd name="T50" fmla="*/ 166 w 954"/>
              <a:gd name="T51" fmla="*/ 845 h 1304"/>
              <a:gd name="T52" fmla="*/ 249 w 954"/>
              <a:gd name="T53" fmla="*/ 999 h 1304"/>
              <a:gd name="T54" fmla="*/ 403 w 954"/>
              <a:gd name="T55" fmla="*/ 1136 h 1304"/>
              <a:gd name="T56" fmla="*/ 457 w 954"/>
              <a:gd name="T57" fmla="*/ 1191 h 1304"/>
              <a:gd name="T58" fmla="*/ 478 w 954"/>
              <a:gd name="T59" fmla="*/ 1304 h 1304"/>
              <a:gd name="T60" fmla="*/ 933 w 954"/>
              <a:gd name="T61" fmla="*/ 1226 h 1304"/>
              <a:gd name="T62" fmla="*/ 912 w 954"/>
              <a:gd name="T63" fmla="*/ 1129 h 1304"/>
              <a:gd name="T64" fmla="*/ 909 w 954"/>
              <a:gd name="T65" fmla="*/ 1127 h 1304"/>
              <a:gd name="T66" fmla="*/ 930 w 954"/>
              <a:gd name="T67" fmla="*/ 1053 h 1304"/>
              <a:gd name="T68" fmla="*/ 940 w 954"/>
              <a:gd name="T69" fmla="*/ 992 h 1304"/>
              <a:gd name="T70" fmla="*/ 947 w 954"/>
              <a:gd name="T71" fmla="*/ 831 h 1304"/>
              <a:gd name="T72" fmla="*/ 949 w 954"/>
              <a:gd name="T73" fmla="*/ 802 h 1304"/>
              <a:gd name="T74" fmla="*/ 871 w 954"/>
              <a:gd name="T75" fmla="*/ 684 h 1304"/>
              <a:gd name="T76" fmla="*/ 869 w 954"/>
              <a:gd name="T77" fmla="*/ 682 h 1304"/>
              <a:gd name="T78" fmla="*/ 805 w 954"/>
              <a:gd name="T79" fmla="*/ 589 h 1304"/>
              <a:gd name="T80" fmla="*/ 687 w 954"/>
              <a:gd name="T81" fmla="*/ 525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1304">
                <a:moveTo>
                  <a:pt x="687" y="525"/>
                </a:moveTo>
                <a:cubicBezTo>
                  <a:pt x="684" y="525"/>
                  <a:pt x="684" y="525"/>
                  <a:pt x="684" y="525"/>
                </a:cubicBezTo>
                <a:cubicBezTo>
                  <a:pt x="651" y="523"/>
                  <a:pt x="651" y="523"/>
                  <a:pt x="651" y="523"/>
                </a:cubicBezTo>
                <a:cubicBezTo>
                  <a:pt x="632" y="490"/>
                  <a:pt x="632" y="490"/>
                  <a:pt x="632" y="490"/>
                </a:cubicBezTo>
                <a:cubicBezTo>
                  <a:pt x="627" y="485"/>
                  <a:pt x="625" y="480"/>
                  <a:pt x="620" y="476"/>
                </a:cubicBezTo>
                <a:cubicBezTo>
                  <a:pt x="592" y="452"/>
                  <a:pt x="559" y="438"/>
                  <a:pt x="521" y="438"/>
                </a:cubicBezTo>
                <a:cubicBezTo>
                  <a:pt x="488" y="445"/>
                  <a:pt x="488" y="445"/>
                  <a:pt x="488" y="445"/>
                </a:cubicBezTo>
                <a:cubicBezTo>
                  <a:pt x="488" y="443"/>
                  <a:pt x="488" y="443"/>
                  <a:pt x="488" y="443"/>
                </a:cubicBezTo>
                <a:cubicBezTo>
                  <a:pt x="488" y="440"/>
                  <a:pt x="488" y="440"/>
                  <a:pt x="488" y="440"/>
                </a:cubicBezTo>
                <a:cubicBezTo>
                  <a:pt x="384" y="50"/>
                  <a:pt x="384" y="50"/>
                  <a:pt x="384" y="50"/>
                </a:cubicBezTo>
                <a:cubicBezTo>
                  <a:pt x="369" y="0"/>
                  <a:pt x="346" y="0"/>
                  <a:pt x="317" y="5"/>
                </a:cubicBezTo>
                <a:cubicBezTo>
                  <a:pt x="317" y="5"/>
                  <a:pt x="263" y="12"/>
                  <a:pt x="275" y="71"/>
                </a:cubicBezTo>
                <a:cubicBezTo>
                  <a:pt x="376" y="618"/>
                  <a:pt x="376" y="618"/>
                  <a:pt x="376" y="618"/>
                </a:cubicBezTo>
                <a:cubicBezTo>
                  <a:pt x="376" y="625"/>
                  <a:pt x="379" y="630"/>
                  <a:pt x="379" y="637"/>
                </a:cubicBezTo>
                <a:cubicBezTo>
                  <a:pt x="379" y="660"/>
                  <a:pt x="369" y="684"/>
                  <a:pt x="353" y="703"/>
                </a:cubicBezTo>
                <a:cubicBezTo>
                  <a:pt x="348" y="710"/>
                  <a:pt x="341" y="715"/>
                  <a:pt x="336" y="715"/>
                </a:cubicBezTo>
                <a:cubicBezTo>
                  <a:pt x="305" y="720"/>
                  <a:pt x="277" y="712"/>
                  <a:pt x="251" y="694"/>
                </a:cubicBezTo>
                <a:cubicBezTo>
                  <a:pt x="220" y="670"/>
                  <a:pt x="199" y="620"/>
                  <a:pt x="178" y="589"/>
                </a:cubicBezTo>
                <a:cubicBezTo>
                  <a:pt x="166" y="570"/>
                  <a:pt x="156" y="549"/>
                  <a:pt x="142" y="533"/>
                </a:cubicBezTo>
                <a:cubicBezTo>
                  <a:pt x="114" y="504"/>
                  <a:pt x="57" y="480"/>
                  <a:pt x="21" y="509"/>
                </a:cubicBezTo>
                <a:cubicBezTo>
                  <a:pt x="12" y="518"/>
                  <a:pt x="0" y="542"/>
                  <a:pt x="10" y="554"/>
                </a:cubicBezTo>
                <a:cubicBezTo>
                  <a:pt x="24" y="573"/>
                  <a:pt x="43" y="594"/>
                  <a:pt x="52" y="615"/>
                </a:cubicBezTo>
                <a:cubicBezTo>
                  <a:pt x="62" y="632"/>
                  <a:pt x="66" y="651"/>
                  <a:pt x="73" y="670"/>
                </a:cubicBezTo>
                <a:cubicBezTo>
                  <a:pt x="78" y="682"/>
                  <a:pt x="81" y="712"/>
                  <a:pt x="90" y="722"/>
                </a:cubicBezTo>
                <a:cubicBezTo>
                  <a:pt x="99" y="731"/>
                  <a:pt x="109" y="750"/>
                  <a:pt x="116" y="762"/>
                </a:cubicBezTo>
                <a:cubicBezTo>
                  <a:pt x="133" y="788"/>
                  <a:pt x="156" y="817"/>
                  <a:pt x="166" y="845"/>
                </a:cubicBezTo>
                <a:cubicBezTo>
                  <a:pt x="199" y="892"/>
                  <a:pt x="213" y="954"/>
                  <a:pt x="249" y="999"/>
                </a:cubicBezTo>
                <a:cubicBezTo>
                  <a:pt x="294" y="1053"/>
                  <a:pt x="336" y="1105"/>
                  <a:pt x="403" y="1136"/>
                </a:cubicBezTo>
                <a:cubicBezTo>
                  <a:pt x="426" y="1150"/>
                  <a:pt x="443" y="1169"/>
                  <a:pt x="457" y="1191"/>
                </a:cubicBezTo>
                <a:cubicBezTo>
                  <a:pt x="478" y="1304"/>
                  <a:pt x="478" y="1304"/>
                  <a:pt x="478" y="1304"/>
                </a:cubicBezTo>
                <a:cubicBezTo>
                  <a:pt x="561" y="1290"/>
                  <a:pt x="897" y="1233"/>
                  <a:pt x="933" y="1226"/>
                </a:cubicBezTo>
                <a:cubicBezTo>
                  <a:pt x="912" y="1129"/>
                  <a:pt x="912" y="1129"/>
                  <a:pt x="912" y="1129"/>
                </a:cubicBezTo>
                <a:cubicBezTo>
                  <a:pt x="909" y="1127"/>
                  <a:pt x="909" y="1127"/>
                  <a:pt x="909" y="1127"/>
                </a:cubicBezTo>
                <a:cubicBezTo>
                  <a:pt x="919" y="1103"/>
                  <a:pt x="923" y="1077"/>
                  <a:pt x="930" y="1053"/>
                </a:cubicBezTo>
                <a:cubicBezTo>
                  <a:pt x="935" y="1032"/>
                  <a:pt x="940" y="1013"/>
                  <a:pt x="940" y="992"/>
                </a:cubicBezTo>
                <a:cubicBezTo>
                  <a:pt x="942" y="940"/>
                  <a:pt x="945" y="885"/>
                  <a:pt x="947" y="831"/>
                </a:cubicBezTo>
                <a:cubicBezTo>
                  <a:pt x="947" y="821"/>
                  <a:pt x="947" y="812"/>
                  <a:pt x="949" y="802"/>
                </a:cubicBezTo>
                <a:cubicBezTo>
                  <a:pt x="954" y="772"/>
                  <a:pt x="935" y="689"/>
                  <a:pt x="871" y="684"/>
                </a:cubicBezTo>
                <a:cubicBezTo>
                  <a:pt x="869" y="684"/>
                  <a:pt x="869" y="684"/>
                  <a:pt x="869" y="682"/>
                </a:cubicBezTo>
                <a:cubicBezTo>
                  <a:pt x="852" y="649"/>
                  <a:pt x="831" y="618"/>
                  <a:pt x="805" y="589"/>
                </a:cubicBezTo>
                <a:cubicBezTo>
                  <a:pt x="774" y="556"/>
                  <a:pt x="732" y="533"/>
                  <a:pt x="687" y="525"/>
                </a:cubicBezTo>
                <a:close/>
              </a:path>
            </a:pathLst>
          </a:custGeom>
          <a:solidFill>
            <a:schemeClr val="bg1">
              <a:lumMod val="9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34762" y="2814279"/>
            <a:ext cx="677399" cy="280303"/>
          </a:xfrm>
          <a:prstGeom prst="rect">
            <a:avLst/>
          </a:prstGeom>
        </p:spPr>
      </p:pic>
      <p:pic>
        <p:nvPicPr>
          <p:cNvPr id="7" name="Picture 6"/>
          <p:cNvPicPr>
            <a:picLocks noChangeAspect="1"/>
          </p:cNvPicPr>
          <p:nvPr/>
        </p:nvPicPr>
        <p:blipFill>
          <a:blip r:embed="rId7"/>
          <a:stretch>
            <a:fillRect/>
          </a:stretch>
        </p:blipFill>
        <p:spPr>
          <a:xfrm>
            <a:off x="7053049" y="2749765"/>
            <a:ext cx="2998445" cy="1892873"/>
          </a:xfrm>
          <a:prstGeom prst="rect">
            <a:avLst/>
          </a:prstGeom>
        </p:spPr>
      </p:pic>
      <p:sp>
        <p:nvSpPr>
          <p:cNvPr id="38" name="Freeform 5"/>
          <p:cNvSpPr>
            <a:spLocks noEditPoints="1"/>
          </p:cNvSpPr>
          <p:nvPr/>
        </p:nvSpPr>
        <p:spPr bwMode="auto">
          <a:xfrm>
            <a:off x="6384673" y="2630362"/>
            <a:ext cx="4335198" cy="2329546"/>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pic>
        <p:nvPicPr>
          <p:cNvPr id="36" name="Picture 35"/>
          <p:cNvPicPr>
            <a:picLocks noChangeAspect="1"/>
          </p:cNvPicPr>
          <p:nvPr/>
        </p:nvPicPr>
        <p:blipFill rotWithShape="1">
          <a:blip r:embed="rId8"/>
          <a:srcRect l="525" t="537" r="52097" b="16533"/>
          <a:stretch/>
        </p:blipFill>
        <p:spPr>
          <a:xfrm>
            <a:off x="10941923" y="3059113"/>
            <a:ext cx="979918" cy="1471663"/>
          </a:xfrm>
          <a:prstGeom prst="rect">
            <a:avLst/>
          </a:prstGeom>
          <a:ln>
            <a:noFill/>
          </a:ln>
          <a:effectLst>
            <a:innerShdw blurRad="25400">
              <a:prstClr val="black"/>
            </a:innerShdw>
          </a:effectLst>
        </p:spPr>
      </p:pic>
    </p:spTree>
    <p:extLst>
      <p:ext uri="{BB962C8B-B14F-4D97-AF65-F5344CB8AC3E}">
        <p14:creationId xmlns:p14="http://schemas.microsoft.com/office/powerpoint/2010/main" val="36750583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750" fill="hold"/>
                                        <p:tgtEl>
                                          <p:spTgt spid="37"/>
                                        </p:tgtEl>
                                        <p:attrNameLst>
                                          <p:attrName>ppt_x</p:attrName>
                                        </p:attrNameLst>
                                      </p:cBhvr>
                                      <p:tavLst>
                                        <p:tav tm="0">
                                          <p:val>
                                            <p:strVal val="#ppt_x"/>
                                          </p:val>
                                        </p:tav>
                                        <p:tav tm="100000">
                                          <p:val>
                                            <p:strVal val="#ppt_x"/>
                                          </p:val>
                                        </p:tav>
                                      </p:tavLst>
                                    </p:anim>
                                    <p:anim calcmode="lin" valueType="num">
                                      <p:cBhvr additive="base">
                                        <p:cTn id="12" dur="750" fill="hold"/>
                                        <p:tgtEl>
                                          <p:spTgt spid="3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path" presetSubtype="0" decel="100000" fill="hold" grpId="0" nodeType="clickEffect">
                                  <p:stCondLst>
                                    <p:cond delay="0"/>
                                  </p:stCondLst>
                                  <p:childTnLst>
                                    <p:animMotion origin="layout" path="M 1.0314E-6 -1.36632E-6 L -0.48264 0.06242 " pathEditMode="relative" rAng="0" ptsTypes="AA">
                                      <p:cBhvr>
                                        <p:cTn id="16" dur="1000" fill="hold"/>
                                        <p:tgtEl>
                                          <p:spTgt spid="28"/>
                                        </p:tgtEl>
                                        <p:attrNameLst>
                                          <p:attrName>ppt_x</p:attrName>
                                          <p:attrName>ppt_y</p:attrName>
                                        </p:attrNameLst>
                                      </p:cBhvr>
                                      <p:rCtr x="-24138" y="3109"/>
                                    </p:animMotion>
                                  </p:childTnLst>
                                </p:cTn>
                              </p:par>
                            </p:childTnLst>
                          </p:cTn>
                        </p:par>
                        <p:par>
                          <p:cTn id="17" fill="hold">
                            <p:stCondLst>
                              <p:cond delay="1000"/>
                            </p:stCondLst>
                            <p:childTnLst>
                              <p:par>
                                <p:cTn id="18" presetID="10" presetClass="exit" presetSubtype="0" fill="hold" grpId="1" nodeType="after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childTnLst>
                          </p:cTn>
                        </p:par>
                        <p:par>
                          <p:cTn id="21" fill="hold">
                            <p:stCondLst>
                              <p:cond delay="1500"/>
                            </p:stCondLst>
                            <p:childTnLst>
                              <p:par>
                                <p:cTn id="22" presetID="10" presetClass="entr" presetSubtype="0" fill="hold" grpId="0" nodeType="afterEffect">
                                  <p:stCondLst>
                                    <p:cond delay="100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par>
                                <p:cTn id="25" presetID="10" presetClass="entr" presetSubtype="0" fill="hold" nodeType="withEffect">
                                  <p:stCondLst>
                                    <p:cond delay="100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10" presetClass="entr" presetSubtype="0" fill="hold" nodeType="withEffect">
                                  <p:stCondLst>
                                    <p:cond delay="1000"/>
                                  </p:stCondLst>
                                  <p:childTnLst>
                                    <p:set>
                                      <p:cBhvr>
                                        <p:cTn id="29" dur="1" fill="hold">
                                          <p:stCondLst>
                                            <p:cond delay="0"/>
                                          </p:stCondLst>
                                        </p:cTn>
                                        <p:tgtEl>
                                          <p:spTgt spid="43"/>
                                        </p:tgtEl>
                                        <p:attrNameLst>
                                          <p:attrName>style.visibility</p:attrName>
                                        </p:attrNameLst>
                                      </p:cBhvr>
                                      <p:to>
                                        <p:strVal val="visible"/>
                                      </p:to>
                                    </p:set>
                                    <p:animEffect transition="in" filter="fade">
                                      <p:cBhvr>
                                        <p:cTn id="30" dur="500"/>
                                        <p:tgtEl>
                                          <p:spTgt spid="43"/>
                                        </p:tgtEl>
                                      </p:cBhvr>
                                    </p:animEffect>
                                  </p:childTnLst>
                                </p:cTn>
                              </p:par>
                              <p:par>
                                <p:cTn id="31" presetID="10" presetClass="entr" presetSubtype="0" fill="hold" nodeType="withEffect">
                                  <p:stCondLst>
                                    <p:cond delay="100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6" presetClass="emph" presetSubtype="0" decel="100000" fill="hold" nodeType="withEffect">
                                  <p:stCondLst>
                                    <p:cond delay="500"/>
                                  </p:stCondLst>
                                  <p:childTnLst>
                                    <p:animScale>
                                      <p:cBhvr>
                                        <p:cTn id="35" dur="1000" fill="hold"/>
                                        <p:tgtEl>
                                          <p:spTgt spid="37"/>
                                        </p:tgtEl>
                                      </p:cBhvr>
                                      <p:by x="52000" y="52000"/>
                                    </p:animScale>
                                  </p:childTnLst>
                                </p:cTn>
                              </p:par>
                              <p:par>
                                <p:cTn id="36" presetID="42" presetClass="path" presetSubtype="0" accel="50000" decel="50000" fill="hold" nodeType="withEffect">
                                  <p:stCondLst>
                                    <p:cond delay="500"/>
                                  </p:stCondLst>
                                  <p:childTnLst>
                                    <p:animMotion origin="layout" path="M -3.7784E-7 -3.32274E-6 L 0.02247 -0.02723 " pathEditMode="relative" rAng="0" ptsTypes="AA">
                                      <p:cBhvr>
                                        <p:cTn id="37" dur="1000" fill="hold"/>
                                        <p:tgtEl>
                                          <p:spTgt spid="37"/>
                                        </p:tgtEl>
                                        <p:attrNameLst>
                                          <p:attrName>ppt_x</p:attrName>
                                          <p:attrName>ppt_y</p:attrName>
                                        </p:attrNameLst>
                                      </p:cBhvr>
                                      <p:rCtr x="1123" y="-1362"/>
                                    </p:animMotion>
                                  </p:childTnLst>
                                </p:cTn>
                              </p:par>
                            </p:childTnLst>
                          </p:cTn>
                        </p:par>
                      </p:childTnLst>
                    </p:cTn>
                  </p:par>
                  <p:par>
                    <p:cTn id="38" fill="hold">
                      <p:stCondLst>
                        <p:cond delay="indefinite"/>
                      </p:stCondLst>
                      <p:childTnLst>
                        <p:par>
                          <p:cTn id="39" fill="hold">
                            <p:stCondLst>
                              <p:cond delay="0"/>
                            </p:stCondLst>
                            <p:childTnLst>
                              <p:par>
                                <p:cTn id="40" presetID="2" presetClass="entr" presetSubtype="4" decel="100000" fill="hold" grpId="0" nodeType="click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750" fill="hold"/>
                                        <p:tgtEl>
                                          <p:spTgt spid="3"/>
                                        </p:tgtEl>
                                        <p:attrNameLst>
                                          <p:attrName>ppt_x</p:attrName>
                                        </p:attrNameLst>
                                      </p:cBhvr>
                                      <p:tavLst>
                                        <p:tav tm="0">
                                          <p:val>
                                            <p:strVal val="#ppt_x"/>
                                          </p:val>
                                        </p:tav>
                                        <p:tav tm="100000">
                                          <p:val>
                                            <p:strVal val="#ppt_x"/>
                                          </p:val>
                                        </p:tav>
                                      </p:tavLst>
                                    </p:anim>
                                    <p:anim calcmode="lin" valueType="num">
                                      <p:cBhvr additive="base">
                                        <p:cTn id="43" dur="750" fill="hold"/>
                                        <p:tgtEl>
                                          <p:spTgt spid="3"/>
                                        </p:tgtEl>
                                        <p:attrNameLst>
                                          <p:attrName>ppt_y</p:attrName>
                                        </p:attrNameLst>
                                      </p:cBhvr>
                                      <p:tavLst>
                                        <p:tav tm="0">
                                          <p:val>
                                            <p:strVal val="1+#ppt_h/2"/>
                                          </p:val>
                                        </p:tav>
                                        <p:tav tm="100000">
                                          <p:val>
                                            <p:strVal val="#ppt_y"/>
                                          </p:val>
                                        </p:tav>
                                      </p:tavLst>
                                    </p:anim>
                                  </p:childTnLst>
                                </p:cTn>
                              </p:par>
                            </p:childTnLst>
                          </p:cTn>
                        </p:par>
                        <p:par>
                          <p:cTn id="44" fill="hold">
                            <p:stCondLst>
                              <p:cond delay="750"/>
                            </p:stCondLst>
                            <p:childTnLst>
                              <p:par>
                                <p:cTn id="45" presetID="10" presetClass="exit" presetSubtype="0" fill="hold" nodeType="afterEffect">
                                  <p:stCondLst>
                                    <p:cond delay="0"/>
                                  </p:stCondLst>
                                  <p:childTnLst>
                                    <p:animEffect transition="out" filter="fade">
                                      <p:cBhvr>
                                        <p:cTn id="46" dur="500"/>
                                        <p:tgtEl>
                                          <p:spTgt spid="37"/>
                                        </p:tgtEl>
                                      </p:cBhvr>
                                    </p:animEffect>
                                    <p:set>
                                      <p:cBhvr>
                                        <p:cTn id="47" dur="1" fill="hold">
                                          <p:stCondLst>
                                            <p:cond delay="499"/>
                                          </p:stCondLst>
                                        </p:cTn>
                                        <p:tgtEl>
                                          <p:spTgt spid="37"/>
                                        </p:tgtEl>
                                        <p:attrNameLst>
                                          <p:attrName>style.visibility</p:attrName>
                                        </p:attrNameLst>
                                      </p:cBhvr>
                                      <p:to>
                                        <p:strVal val="hidden"/>
                                      </p:to>
                                    </p:set>
                                  </p:childTnLst>
                                </p:cTn>
                              </p:par>
                              <p:par>
                                <p:cTn id="48" presetID="10" presetClass="entr" presetSubtype="0"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500"/>
                                        <p:tgtEl>
                                          <p:spTgt spid="7"/>
                                        </p:tgtEl>
                                      </p:cBhvr>
                                    </p:animEffect>
                                  </p:childTnLst>
                                </p:cTn>
                              </p:par>
                              <p:par>
                                <p:cTn id="51" presetID="10" presetClass="entr" presetSubtype="0"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6" grpId="0"/>
      <p:bldP spid="28" grpId="0" animBg="1"/>
      <p:bldP spid="28" grpId="1" animBg="1"/>
      <p:bldP spid="3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4604541" y="2556426"/>
            <a:ext cx="1644345" cy="2394079"/>
            <a:chOff x="4604541" y="2556426"/>
            <a:chExt cx="1644345" cy="2394079"/>
          </a:xfrm>
        </p:grpSpPr>
        <p:pic>
          <p:nvPicPr>
            <p:cNvPr id="50" name="Picture 4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664192" y="2679286"/>
              <a:ext cx="1485147" cy="2181560"/>
            </a:xfrm>
            <a:prstGeom prst="rect">
              <a:avLst/>
            </a:prstGeom>
          </p:spPr>
        </p:pic>
        <p:sp>
          <p:nvSpPr>
            <p:cNvPr id="51" name="Freeform 5"/>
            <p:cNvSpPr>
              <a:spLocks noEditPoints="1"/>
            </p:cNvSpPr>
            <p:nvPr/>
          </p:nvSpPr>
          <p:spPr bwMode="auto">
            <a:xfrm rot="5400000">
              <a:off x="4229674" y="2931293"/>
              <a:ext cx="2394079" cy="1644345"/>
            </a:xfrm>
            <a:custGeom>
              <a:avLst/>
              <a:gdLst>
                <a:gd name="T0" fmla="*/ 2084 w 2153"/>
                <a:gd name="T1" fmla="*/ 0 h 1514"/>
                <a:gd name="T2" fmla="*/ 69 w 2153"/>
                <a:gd name="T3" fmla="*/ 0 h 1514"/>
                <a:gd name="T4" fmla="*/ 0 w 2153"/>
                <a:gd name="T5" fmla="*/ 69 h 1514"/>
                <a:gd name="T6" fmla="*/ 0 w 2153"/>
                <a:gd name="T7" fmla="*/ 1445 h 1514"/>
                <a:gd name="T8" fmla="*/ 69 w 2153"/>
                <a:gd name="T9" fmla="*/ 1514 h 1514"/>
                <a:gd name="T10" fmla="*/ 2084 w 2153"/>
                <a:gd name="T11" fmla="*/ 1514 h 1514"/>
                <a:gd name="T12" fmla="*/ 2153 w 2153"/>
                <a:gd name="T13" fmla="*/ 1445 h 1514"/>
                <a:gd name="T14" fmla="*/ 2153 w 2153"/>
                <a:gd name="T15" fmla="*/ 69 h 1514"/>
                <a:gd name="T16" fmla="*/ 2084 w 2153"/>
                <a:gd name="T17" fmla="*/ 0 h 1514"/>
                <a:gd name="T18" fmla="*/ 2031 w 2153"/>
                <a:gd name="T19" fmla="*/ 1336 h 1514"/>
                <a:gd name="T20" fmla="*/ 1970 w 2153"/>
                <a:gd name="T21" fmla="*/ 1393 h 1514"/>
                <a:gd name="T22" fmla="*/ 183 w 2153"/>
                <a:gd name="T23" fmla="*/ 1393 h 1514"/>
                <a:gd name="T24" fmla="*/ 122 w 2153"/>
                <a:gd name="T25" fmla="*/ 1336 h 1514"/>
                <a:gd name="T26" fmla="*/ 122 w 2153"/>
                <a:gd name="T27" fmla="*/ 182 h 1514"/>
                <a:gd name="T28" fmla="*/ 183 w 2153"/>
                <a:gd name="T29" fmla="*/ 121 h 1514"/>
                <a:gd name="T30" fmla="*/ 1970 w 2153"/>
                <a:gd name="T31" fmla="*/ 121 h 1514"/>
                <a:gd name="T32" fmla="*/ 2031 w 2153"/>
                <a:gd name="T33" fmla="*/ 182 h 1514"/>
                <a:gd name="T34" fmla="*/ 2031 w 2153"/>
                <a:gd name="T35" fmla="*/ 1336 h 1514"/>
                <a:gd name="T36" fmla="*/ 2031 w 2153"/>
                <a:gd name="T37" fmla="*/ 1336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3" h="1514">
                  <a:moveTo>
                    <a:pt x="2084" y="0"/>
                  </a:moveTo>
                  <a:cubicBezTo>
                    <a:pt x="69" y="0"/>
                    <a:pt x="69" y="0"/>
                    <a:pt x="69" y="0"/>
                  </a:cubicBezTo>
                  <a:cubicBezTo>
                    <a:pt x="29" y="0"/>
                    <a:pt x="0" y="32"/>
                    <a:pt x="0" y="69"/>
                  </a:cubicBezTo>
                  <a:cubicBezTo>
                    <a:pt x="0" y="1445"/>
                    <a:pt x="0" y="1445"/>
                    <a:pt x="0" y="1445"/>
                  </a:cubicBezTo>
                  <a:cubicBezTo>
                    <a:pt x="0" y="1486"/>
                    <a:pt x="29" y="1514"/>
                    <a:pt x="69" y="1514"/>
                  </a:cubicBezTo>
                  <a:cubicBezTo>
                    <a:pt x="2084" y="1514"/>
                    <a:pt x="2084" y="1514"/>
                    <a:pt x="2084" y="1514"/>
                  </a:cubicBezTo>
                  <a:cubicBezTo>
                    <a:pt x="2124" y="1514"/>
                    <a:pt x="2153" y="1486"/>
                    <a:pt x="2153" y="1445"/>
                  </a:cubicBezTo>
                  <a:cubicBezTo>
                    <a:pt x="2153" y="69"/>
                    <a:pt x="2153" y="69"/>
                    <a:pt x="2153" y="69"/>
                  </a:cubicBezTo>
                  <a:cubicBezTo>
                    <a:pt x="2153" y="32"/>
                    <a:pt x="2124" y="0"/>
                    <a:pt x="2084" y="0"/>
                  </a:cubicBezTo>
                  <a:close/>
                  <a:moveTo>
                    <a:pt x="2031" y="1336"/>
                  </a:moveTo>
                  <a:cubicBezTo>
                    <a:pt x="2031" y="1368"/>
                    <a:pt x="2003" y="1393"/>
                    <a:pt x="1970" y="1393"/>
                  </a:cubicBezTo>
                  <a:cubicBezTo>
                    <a:pt x="183" y="1393"/>
                    <a:pt x="183" y="1393"/>
                    <a:pt x="183" y="1393"/>
                  </a:cubicBezTo>
                  <a:cubicBezTo>
                    <a:pt x="150" y="1393"/>
                    <a:pt x="122" y="1368"/>
                    <a:pt x="122" y="1336"/>
                  </a:cubicBezTo>
                  <a:cubicBezTo>
                    <a:pt x="122" y="182"/>
                    <a:pt x="122" y="182"/>
                    <a:pt x="122" y="182"/>
                  </a:cubicBezTo>
                  <a:cubicBezTo>
                    <a:pt x="122" y="150"/>
                    <a:pt x="150" y="121"/>
                    <a:pt x="183" y="121"/>
                  </a:cubicBezTo>
                  <a:cubicBezTo>
                    <a:pt x="1970" y="121"/>
                    <a:pt x="1970" y="121"/>
                    <a:pt x="1970" y="121"/>
                  </a:cubicBezTo>
                  <a:cubicBezTo>
                    <a:pt x="2003" y="121"/>
                    <a:pt x="2031" y="150"/>
                    <a:pt x="2031" y="182"/>
                  </a:cubicBezTo>
                  <a:cubicBezTo>
                    <a:pt x="2031" y="1336"/>
                    <a:pt x="2031" y="1336"/>
                    <a:pt x="2031" y="1336"/>
                  </a:cubicBezTo>
                  <a:cubicBezTo>
                    <a:pt x="2031" y="1336"/>
                    <a:pt x="2031" y="1336"/>
                    <a:pt x="2031" y="133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52" name="Group 51"/>
          <p:cNvGrpSpPr/>
          <p:nvPr/>
        </p:nvGrpSpPr>
        <p:grpSpPr>
          <a:xfrm>
            <a:off x="10844620" y="2663800"/>
            <a:ext cx="1165297" cy="2278013"/>
            <a:chOff x="10844620" y="2663800"/>
            <a:chExt cx="1165297" cy="2278013"/>
          </a:xfrm>
        </p:grpSpPr>
        <p:pic>
          <p:nvPicPr>
            <p:cNvPr id="58" name="Picture 5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918825" y="3059113"/>
              <a:ext cx="1018652" cy="1499015"/>
            </a:xfrm>
            <a:prstGeom prst="rect">
              <a:avLst/>
            </a:prstGeom>
          </p:spPr>
        </p:pic>
        <p:sp>
          <p:nvSpPr>
            <p:cNvPr id="59" name="Freeform 5"/>
            <p:cNvSpPr>
              <a:spLocks noEditPoints="1"/>
            </p:cNvSpPr>
            <p:nvPr/>
          </p:nvSpPr>
          <p:spPr bwMode="auto">
            <a:xfrm>
              <a:off x="10844620" y="2663800"/>
              <a:ext cx="1165297" cy="2278013"/>
            </a:xfrm>
            <a:custGeom>
              <a:avLst/>
              <a:gdLst>
                <a:gd name="T0" fmla="*/ 984 w 1160"/>
                <a:gd name="T1" fmla="*/ 0 h 2271"/>
                <a:gd name="T2" fmla="*/ 176 w 1160"/>
                <a:gd name="T3" fmla="*/ 0 h 2271"/>
                <a:gd name="T4" fmla="*/ 0 w 1160"/>
                <a:gd name="T5" fmla="*/ 176 h 2271"/>
                <a:gd name="T6" fmla="*/ 0 w 1160"/>
                <a:gd name="T7" fmla="*/ 2095 h 2271"/>
                <a:gd name="T8" fmla="*/ 176 w 1160"/>
                <a:gd name="T9" fmla="*/ 2271 h 2271"/>
                <a:gd name="T10" fmla="*/ 984 w 1160"/>
                <a:gd name="T11" fmla="*/ 2271 h 2271"/>
                <a:gd name="T12" fmla="*/ 1160 w 1160"/>
                <a:gd name="T13" fmla="*/ 2095 h 2271"/>
                <a:gd name="T14" fmla="*/ 1160 w 1160"/>
                <a:gd name="T15" fmla="*/ 176 h 2271"/>
                <a:gd name="T16" fmla="*/ 984 w 1160"/>
                <a:gd name="T17" fmla="*/ 0 h 2271"/>
                <a:gd name="T18" fmla="*/ 495 w 1160"/>
                <a:gd name="T19" fmla="*/ 187 h 2271"/>
                <a:gd name="T20" fmla="*/ 665 w 1160"/>
                <a:gd name="T21" fmla="*/ 187 h 2271"/>
                <a:gd name="T22" fmla="*/ 694 w 1160"/>
                <a:gd name="T23" fmla="*/ 210 h 2271"/>
                <a:gd name="T24" fmla="*/ 665 w 1160"/>
                <a:gd name="T25" fmla="*/ 238 h 2271"/>
                <a:gd name="T26" fmla="*/ 495 w 1160"/>
                <a:gd name="T27" fmla="*/ 238 h 2271"/>
                <a:gd name="T28" fmla="*/ 466 w 1160"/>
                <a:gd name="T29" fmla="*/ 210 h 2271"/>
                <a:gd name="T30" fmla="*/ 495 w 1160"/>
                <a:gd name="T31" fmla="*/ 187 h 2271"/>
                <a:gd name="T32" fmla="*/ 392 w 1160"/>
                <a:gd name="T33" fmla="*/ 181 h 2271"/>
                <a:gd name="T34" fmla="*/ 421 w 1160"/>
                <a:gd name="T35" fmla="*/ 210 h 2271"/>
                <a:gd name="T36" fmla="*/ 392 w 1160"/>
                <a:gd name="T37" fmla="*/ 238 h 2271"/>
                <a:gd name="T38" fmla="*/ 364 w 1160"/>
                <a:gd name="T39" fmla="*/ 210 h 2271"/>
                <a:gd name="T40" fmla="*/ 392 w 1160"/>
                <a:gd name="T41" fmla="*/ 181 h 2271"/>
                <a:gd name="T42" fmla="*/ 580 w 1160"/>
                <a:gd name="T43" fmla="*/ 2175 h 2271"/>
                <a:gd name="T44" fmla="*/ 466 w 1160"/>
                <a:gd name="T45" fmla="*/ 2067 h 2271"/>
                <a:gd name="T46" fmla="*/ 580 w 1160"/>
                <a:gd name="T47" fmla="*/ 1953 h 2271"/>
                <a:gd name="T48" fmla="*/ 694 w 1160"/>
                <a:gd name="T49" fmla="*/ 2067 h 2271"/>
                <a:gd name="T50" fmla="*/ 580 w 1160"/>
                <a:gd name="T51" fmla="*/ 2175 h 2271"/>
                <a:gd name="T52" fmla="*/ 1069 w 1160"/>
                <a:gd name="T53" fmla="*/ 1874 h 2271"/>
                <a:gd name="T54" fmla="*/ 91 w 1160"/>
                <a:gd name="T55" fmla="*/ 1874 h 2271"/>
                <a:gd name="T56" fmla="*/ 91 w 1160"/>
                <a:gd name="T57" fmla="*/ 397 h 2271"/>
                <a:gd name="T58" fmla="*/ 1069 w 1160"/>
                <a:gd name="T59" fmla="*/ 397 h 2271"/>
                <a:gd name="T60" fmla="*/ 1069 w 1160"/>
                <a:gd name="T61" fmla="*/ 1874 h 2271"/>
                <a:gd name="T62" fmla="*/ 1069 w 1160"/>
                <a:gd name="T63" fmla="*/ 1874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0" h="2271">
                  <a:moveTo>
                    <a:pt x="984" y="0"/>
                  </a:moveTo>
                  <a:cubicBezTo>
                    <a:pt x="176" y="0"/>
                    <a:pt x="176" y="0"/>
                    <a:pt x="176" y="0"/>
                  </a:cubicBezTo>
                  <a:cubicBezTo>
                    <a:pt x="80" y="0"/>
                    <a:pt x="0" y="79"/>
                    <a:pt x="0" y="176"/>
                  </a:cubicBezTo>
                  <a:cubicBezTo>
                    <a:pt x="0" y="2095"/>
                    <a:pt x="0" y="2095"/>
                    <a:pt x="0" y="2095"/>
                  </a:cubicBezTo>
                  <a:cubicBezTo>
                    <a:pt x="0" y="2192"/>
                    <a:pt x="80" y="2271"/>
                    <a:pt x="176" y="2271"/>
                  </a:cubicBezTo>
                  <a:cubicBezTo>
                    <a:pt x="984" y="2271"/>
                    <a:pt x="984" y="2271"/>
                    <a:pt x="984" y="2271"/>
                  </a:cubicBezTo>
                  <a:cubicBezTo>
                    <a:pt x="1080" y="2271"/>
                    <a:pt x="1160" y="2192"/>
                    <a:pt x="1160" y="2095"/>
                  </a:cubicBezTo>
                  <a:cubicBezTo>
                    <a:pt x="1160" y="176"/>
                    <a:pt x="1160" y="176"/>
                    <a:pt x="1160" y="176"/>
                  </a:cubicBezTo>
                  <a:cubicBezTo>
                    <a:pt x="1160" y="79"/>
                    <a:pt x="1080" y="0"/>
                    <a:pt x="984" y="0"/>
                  </a:cubicBezTo>
                  <a:close/>
                  <a:moveTo>
                    <a:pt x="495" y="187"/>
                  </a:moveTo>
                  <a:cubicBezTo>
                    <a:pt x="665" y="187"/>
                    <a:pt x="665" y="187"/>
                    <a:pt x="665" y="187"/>
                  </a:cubicBezTo>
                  <a:cubicBezTo>
                    <a:pt x="682" y="187"/>
                    <a:pt x="694" y="198"/>
                    <a:pt x="694" y="210"/>
                  </a:cubicBezTo>
                  <a:cubicBezTo>
                    <a:pt x="694" y="227"/>
                    <a:pt x="682" y="238"/>
                    <a:pt x="665" y="238"/>
                  </a:cubicBezTo>
                  <a:cubicBezTo>
                    <a:pt x="495" y="238"/>
                    <a:pt x="495" y="238"/>
                    <a:pt x="495" y="238"/>
                  </a:cubicBezTo>
                  <a:cubicBezTo>
                    <a:pt x="478" y="238"/>
                    <a:pt x="466" y="227"/>
                    <a:pt x="466" y="210"/>
                  </a:cubicBezTo>
                  <a:cubicBezTo>
                    <a:pt x="466" y="198"/>
                    <a:pt x="478" y="187"/>
                    <a:pt x="495" y="187"/>
                  </a:cubicBezTo>
                  <a:close/>
                  <a:moveTo>
                    <a:pt x="392" y="181"/>
                  </a:moveTo>
                  <a:cubicBezTo>
                    <a:pt x="404" y="181"/>
                    <a:pt x="421" y="193"/>
                    <a:pt x="421" y="210"/>
                  </a:cubicBezTo>
                  <a:cubicBezTo>
                    <a:pt x="421" y="221"/>
                    <a:pt x="404" y="238"/>
                    <a:pt x="392" y="238"/>
                  </a:cubicBezTo>
                  <a:cubicBezTo>
                    <a:pt x="375" y="238"/>
                    <a:pt x="364" y="221"/>
                    <a:pt x="364" y="210"/>
                  </a:cubicBezTo>
                  <a:cubicBezTo>
                    <a:pt x="364" y="193"/>
                    <a:pt x="375" y="181"/>
                    <a:pt x="392" y="181"/>
                  </a:cubicBezTo>
                  <a:close/>
                  <a:moveTo>
                    <a:pt x="580" y="2175"/>
                  </a:moveTo>
                  <a:cubicBezTo>
                    <a:pt x="517" y="2175"/>
                    <a:pt x="466" y="2123"/>
                    <a:pt x="466" y="2067"/>
                  </a:cubicBezTo>
                  <a:cubicBezTo>
                    <a:pt x="466" y="2004"/>
                    <a:pt x="517" y="1953"/>
                    <a:pt x="580" y="1953"/>
                  </a:cubicBezTo>
                  <a:cubicBezTo>
                    <a:pt x="643" y="1953"/>
                    <a:pt x="694" y="2004"/>
                    <a:pt x="694" y="2067"/>
                  </a:cubicBezTo>
                  <a:cubicBezTo>
                    <a:pt x="694" y="2123"/>
                    <a:pt x="643" y="2175"/>
                    <a:pt x="580" y="2175"/>
                  </a:cubicBezTo>
                  <a:close/>
                  <a:moveTo>
                    <a:pt x="1069" y="1874"/>
                  </a:moveTo>
                  <a:cubicBezTo>
                    <a:pt x="91" y="1874"/>
                    <a:pt x="91" y="1874"/>
                    <a:pt x="91" y="1874"/>
                  </a:cubicBezTo>
                  <a:cubicBezTo>
                    <a:pt x="91" y="397"/>
                    <a:pt x="91" y="397"/>
                    <a:pt x="91" y="397"/>
                  </a:cubicBezTo>
                  <a:cubicBezTo>
                    <a:pt x="1069" y="397"/>
                    <a:pt x="1069" y="397"/>
                    <a:pt x="1069" y="397"/>
                  </a:cubicBezTo>
                  <a:cubicBezTo>
                    <a:pt x="1069" y="1874"/>
                    <a:pt x="1069" y="1874"/>
                    <a:pt x="1069" y="1874"/>
                  </a:cubicBezTo>
                  <a:cubicBezTo>
                    <a:pt x="1069" y="1874"/>
                    <a:pt x="1069" y="1874"/>
                    <a:pt x="1069" y="18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60" name="Picture 59"/>
          <p:cNvPicPr>
            <a:picLocks noChangeAspect="1"/>
          </p:cNvPicPr>
          <p:nvPr/>
        </p:nvPicPr>
        <p:blipFill>
          <a:blip r:embed="rId5"/>
          <a:stretch>
            <a:fillRect/>
          </a:stretch>
        </p:blipFill>
        <p:spPr>
          <a:xfrm>
            <a:off x="7068575" y="2749765"/>
            <a:ext cx="2982919" cy="1835097"/>
          </a:xfrm>
          <a:prstGeom prst="rect">
            <a:avLst/>
          </a:prstGeom>
          <a:noFill/>
          <a:ln>
            <a:noFill/>
          </a:ln>
        </p:spPr>
      </p:pic>
      <p:sp>
        <p:nvSpPr>
          <p:cNvPr id="71" name="Freeform 5"/>
          <p:cNvSpPr>
            <a:spLocks noEditPoints="1"/>
          </p:cNvSpPr>
          <p:nvPr/>
        </p:nvSpPr>
        <p:spPr bwMode="auto">
          <a:xfrm>
            <a:off x="6384673" y="2630362"/>
            <a:ext cx="4335198" cy="2329546"/>
          </a:xfrm>
          <a:custGeom>
            <a:avLst/>
            <a:gdLst>
              <a:gd name="T0" fmla="*/ 2186 w 2572"/>
              <a:gd name="T1" fmla="*/ 0 h 1379"/>
              <a:gd name="T2" fmla="*/ 392 w 2572"/>
              <a:gd name="T3" fmla="*/ 0 h 1379"/>
              <a:gd name="T4" fmla="*/ 328 w 2572"/>
              <a:gd name="T5" fmla="*/ 64 h 1379"/>
              <a:gd name="T6" fmla="*/ 328 w 2572"/>
              <a:gd name="T7" fmla="*/ 1166 h 1379"/>
              <a:gd name="T8" fmla="*/ 392 w 2572"/>
              <a:gd name="T9" fmla="*/ 1231 h 1379"/>
              <a:gd name="T10" fmla="*/ 2186 w 2572"/>
              <a:gd name="T11" fmla="*/ 1231 h 1379"/>
              <a:gd name="T12" fmla="*/ 2250 w 2572"/>
              <a:gd name="T13" fmla="*/ 1166 h 1379"/>
              <a:gd name="T14" fmla="*/ 2250 w 2572"/>
              <a:gd name="T15" fmla="*/ 64 h 1379"/>
              <a:gd name="T16" fmla="*/ 2186 w 2572"/>
              <a:gd name="T17" fmla="*/ 0 h 1379"/>
              <a:gd name="T18" fmla="*/ 2167 w 2572"/>
              <a:gd name="T19" fmla="*/ 1153 h 1379"/>
              <a:gd name="T20" fmla="*/ 412 w 2572"/>
              <a:gd name="T21" fmla="*/ 1153 h 1379"/>
              <a:gd name="T22" fmla="*/ 412 w 2572"/>
              <a:gd name="T23" fmla="*/ 71 h 1379"/>
              <a:gd name="T24" fmla="*/ 2167 w 2572"/>
              <a:gd name="T25" fmla="*/ 71 h 1379"/>
              <a:gd name="T26" fmla="*/ 2167 w 2572"/>
              <a:gd name="T27" fmla="*/ 1153 h 1379"/>
              <a:gd name="T28" fmla="*/ 1466 w 2572"/>
              <a:gd name="T29" fmla="*/ 1276 h 1379"/>
              <a:gd name="T30" fmla="*/ 1466 w 2572"/>
              <a:gd name="T31" fmla="*/ 1289 h 1379"/>
              <a:gd name="T32" fmla="*/ 1440 w 2572"/>
              <a:gd name="T33" fmla="*/ 1308 h 1379"/>
              <a:gd name="T34" fmla="*/ 1138 w 2572"/>
              <a:gd name="T35" fmla="*/ 1308 h 1379"/>
              <a:gd name="T36" fmla="*/ 1112 w 2572"/>
              <a:gd name="T37" fmla="*/ 1289 h 1379"/>
              <a:gd name="T38" fmla="*/ 1112 w 2572"/>
              <a:gd name="T39" fmla="*/ 1276 h 1379"/>
              <a:gd name="T40" fmla="*/ 0 w 2572"/>
              <a:gd name="T41" fmla="*/ 1276 h 1379"/>
              <a:gd name="T42" fmla="*/ 0 w 2572"/>
              <a:gd name="T43" fmla="*/ 1340 h 1379"/>
              <a:gd name="T44" fmla="*/ 84 w 2572"/>
              <a:gd name="T45" fmla="*/ 1379 h 1379"/>
              <a:gd name="T46" fmla="*/ 84 w 2572"/>
              <a:gd name="T47" fmla="*/ 1379 h 1379"/>
              <a:gd name="T48" fmla="*/ 2488 w 2572"/>
              <a:gd name="T49" fmla="*/ 1379 h 1379"/>
              <a:gd name="T50" fmla="*/ 2488 w 2572"/>
              <a:gd name="T51" fmla="*/ 1379 h 1379"/>
              <a:gd name="T52" fmla="*/ 2572 w 2572"/>
              <a:gd name="T53" fmla="*/ 1340 h 1379"/>
              <a:gd name="T54" fmla="*/ 2572 w 2572"/>
              <a:gd name="T55" fmla="*/ 1276 h 1379"/>
              <a:gd name="T56" fmla="*/ 1466 w 2572"/>
              <a:gd name="T57" fmla="*/ 1276 h 1379"/>
              <a:gd name="T58" fmla="*/ 1466 w 2572"/>
              <a:gd name="T59" fmla="*/ 1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72" h="1379">
                <a:moveTo>
                  <a:pt x="2186" y="0"/>
                </a:moveTo>
                <a:cubicBezTo>
                  <a:pt x="392" y="0"/>
                  <a:pt x="392" y="0"/>
                  <a:pt x="392" y="0"/>
                </a:cubicBezTo>
                <a:cubicBezTo>
                  <a:pt x="360" y="0"/>
                  <a:pt x="328" y="26"/>
                  <a:pt x="328" y="64"/>
                </a:cubicBezTo>
                <a:cubicBezTo>
                  <a:pt x="328" y="1166"/>
                  <a:pt x="328" y="1166"/>
                  <a:pt x="328" y="1166"/>
                </a:cubicBezTo>
                <a:cubicBezTo>
                  <a:pt x="328" y="1205"/>
                  <a:pt x="360" y="1231"/>
                  <a:pt x="392" y="1231"/>
                </a:cubicBezTo>
                <a:cubicBezTo>
                  <a:pt x="2186" y="1231"/>
                  <a:pt x="2186" y="1231"/>
                  <a:pt x="2186" y="1231"/>
                </a:cubicBezTo>
                <a:cubicBezTo>
                  <a:pt x="2225" y="1231"/>
                  <a:pt x="2250" y="1205"/>
                  <a:pt x="2250" y="1166"/>
                </a:cubicBezTo>
                <a:cubicBezTo>
                  <a:pt x="2250" y="64"/>
                  <a:pt x="2250" y="64"/>
                  <a:pt x="2250" y="64"/>
                </a:cubicBezTo>
                <a:cubicBezTo>
                  <a:pt x="2250" y="26"/>
                  <a:pt x="2225" y="0"/>
                  <a:pt x="2186" y="0"/>
                </a:cubicBezTo>
                <a:close/>
                <a:moveTo>
                  <a:pt x="2167" y="1153"/>
                </a:moveTo>
                <a:cubicBezTo>
                  <a:pt x="412" y="1153"/>
                  <a:pt x="412" y="1153"/>
                  <a:pt x="412" y="1153"/>
                </a:cubicBezTo>
                <a:cubicBezTo>
                  <a:pt x="412" y="71"/>
                  <a:pt x="412" y="71"/>
                  <a:pt x="412" y="71"/>
                </a:cubicBezTo>
                <a:cubicBezTo>
                  <a:pt x="2167" y="71"/>
                  <a:pt x="2167" y="71"/>
                  <a:pt x="2167" y="71"/>
                </a:cubicBezTo>
                <a:cubicBezTo>
                  <a:pt x="2167" y="1153"/>
                  <a:pt x="2167" y="1153"/>
                  <a:pt x="2167" y="1153"/>
                </a:cubicBezTo>
                <a:close/>
                <a:moveTo>
                  <a:pt x="1466" y="1276"/>
                </a:moveTo>
                <a:cubicBezTo>
                  <a:pt x="1466" y="1289"/>
                  <a:pt x="1466" y="1289"/>
                  <a:pt x="1466" y="1289"/>
                </a:cubicBezTo>
                <a:cubicBezTo>
                  <a:pt x="1466" y="1302"/>
                  <a:pt x="1453" y="1308"/>
                  <a:pt x="1440" y="1308"/>
                </a:cubicBezTo>
                <a:cubicBezTo>
                  <a:pt x="1138" y="1308"/>
                  <a:pt x="1138" y="1308"/>
                  <a:pt x="1138" y="1308"/>
                </a:cubicBezTo>
                <a:cubicBezTo>
                  <a:pt x="1125" y="1308"/>
                  <a:pt x="1112" y="1302"/>
                  <a:pt x="1112" y="1289"/>
                </a:cubicBezTo>
                <a:cubicBezTo>
                  <a:pt x="1112" y="1276"/>
                  <a:pt x="1112" y="1276"/>
                  <a:pt x="1112" y="1276"/>
                </a:cubicBezTo>
                <a:cubicBezTo>
                  <a:pt x="0" y="1276"/>
                  <a:pt x="0" y="1276"/>
                  <a:pt x="0" y="1276"/>
                </a:cubicBezTo>
                <a:cubicBezTo>
                  <a:pt x="0" y="1340"/>
                  <a:pt x="0" y="1340"/>
                  <a:pt x="0" y="1340"/>
                </a:cubicBezTo>
                <a:cubicBezTo>
                  <a:pt x="0" y="1340"/>
                  <a:pt x="58" y="1379"/>
                  <a:pt x="84" y="1379"/>
                </a:cubicBezTo>
                <a:cubicBezTo>
                  <a:pt x="84" y="1379"/>
                  <a:pt x="84" y="1379"/>
                  <a:pt x="84" y="1379"/>
                </a:cubicBezTo>
                <a:cubicBezTo>
                  <a:pt x="2488" y="1379"/>
                  <a:pt x="2488" y="1379"/>
                  <a:pt x="2488" y="1379"/>
                </a:cubicBezTo>
                <a:cubicBezTo>
                  <a:pt x="2488" y="1379"/>
                  <a:pt x="2488" y="1379"/>
                  <a:pt x="2488" y="1379"/>
                </a:cubicBezTo>
                <a:cubicBezTo>
                  <a:pt x="2514" y="1379"/>
                  <a:pt x="2572" y="1340"/>
                  <a:pt x="2572" y="1340"/>
                </a:cubicBezTo>
                <a:cubicBezTo>
                  <a:pt x="2572" y="1276"/>
                  <a:pt x="2572" y="1276"/>
                  <a:pt x="2572" y="1276"/>
                </a:cubicBezTo>
                <a:cubicBezTo>
                  <a:pt x="1466" y="1276"/>
                  <a:pt x="1466" y="1276"/>
                  <a:pt x="1466" y="1276"/>
                </a:cubicBezTo>
                <a:cubicBezTo>
                  <a:pt x="1466" y="1276"/>
                  <a:pt x="1466" y="1276"/>
                  <a:pt x="1466" y="1276"/>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pic>
        <p:nvPicPr>
          <p:cNvPr id="46" name="Picture 45"/>
          <p:cNvPicPr>
            <a:picLocks noChangeAspect="1"/>
          </p:cNvPicPr>
          <p:nvPr/>
        </p:nvPicPr>
        <p:blipFill rotWithShape="1">
          <a:blip r:embed="rId6"/>
          <a:srcRect l="525" t="537" r="52097" b="16533"/>
          <a:stretch/>
        </p:blipFill>
        <p:spPr>
          <a:xfrm>
            <a:off x="10938238" y="3064618"/>
            <a:ext cx="979918" cy="1471663"/>
          </a:xfrm>
          <a:prstGeom prst="rect">
            <a:avLst/>
          </a:prstGeom>
          <a:ln>
            <a:noFill/>
          </a:ln>
          <a:effectLst>
            <a:innerShdw blurRad="25400">
              <a:prstClr val="black"/>
            </a:innerShdw>
          </a:effectLst>
        </p:spPr>
      </p:pic>
      <p:sp>
        <p:nvSpPr>
          <p:cNvPr id="3" name="Rectangle 2"/>
          <p:cNvSpPr/>
          <p:nvPr/>
        </p:nvSpPr>
        <p:spPr>
          <a:xfrm>
            <a:off x="266084" y="3770066"/>
            <a:ext cx="4142681" cy="572464"/>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Manage your account</a:t>
            </a:r>
            <a:endParaRPr lang="en-US" sz="2000" spc="-90" dirty="0">
              <a:gradFill>
                <a:gsLst>
                  <a:gs pos="3670">
                    <a:srgbClr val="505050"/>
                  </a:gs>
                  <a:gs pos="100000">
                    <a:srgbClr val="505050"/>
                  </a:gs>
                </a:gsLst>
                <a:lin ang="5400000" scaled="0"/>
              </a:gradFill>
            </a:endParaRPr>
          </a:p>
        </p:txBody>
      </p:sp>
      <p:sp>
        <p:nvSpPr>
          <p:cNvPr id="6" name="Rectangle 5"/>
          <p:cNvSpPr/>
          <p:nvPr/>
        </p:nvSpPr>
        <p:spPr>
          <a:xfrm>
            <a:off x="266084" y="4584862"/>
            <a:ext cx="4051830" cy="1126462"/>
          </a:xfrm>
          <a:prstGeom prst="rect">
            <a:avLst/>
          </a:prstGeom>
        </p:spPr>
        <p:txBody>
          <a:bodyPr wrap="square" lIns="182880" tIns="146304" rIns="182880" bIns="146304">
            <a:spAutoFit/>
          </a:bodyPr>
          <a:lstStyle/>
          <a:p>
            <a:pPr defTabSz="914099" fontAlgn="base">
              <a:lnSpc>
                <a:spcPct val="90000"/>
              </a:lnSpc>
              <a:spcBef>
                <a:spcPts val="600"/>
              </a:spcBef>
              <a:spcAft>
                <a:spcPct val="0"/>
              </a:spcAft>
              <a:defRPr/>
            </a:pPr>
            <a:r>
              <a:rPr lang="en-US" sz="2000" spc="-90" dirty="0" smtClean="0">
                <a:gradFill>
                  <a:gsLst>
                    <a:gs pos="3670">
                      <a:srgbClr val="505050"/>
                    </a:gs>
                    <a:gs pos="100000">
                      <a:srgbClr val="505050"/>
                    </a:gs>
                  </a:gsLst>
                  <a:lin ang="5400000" scaled="0"/>
                </a:gradFill>
              </a:rPr>
              <a:t>Self Service Password Reset and delegated group management </a:t>
            </a:r>
            <a:br>
              <a:rPr lang="en-US" sz="2000" spc="-90" dirty="0" smtClean="0">
                <a:gradFill>
                  <a:gsLst>
                    <a:gs pos="3670">
                      <a:srgbClr val="505050"/>
                    </a:gs>
                    <a:gs pos="100000">
                      <a:srgbClr val="505050"/>
                    </a:gs>
                  </a:gsLst>
                  <a:lin ang="5400000" scaled="0"/>
                </a:gradFill>
              </a:rPr>
            </a:br>
            <a:r>
              <a:rPr lang="en-US" sz="2000" spc="-90" dirty="0" smtClean="0">
                <a:gradFill>
                  <a:gsLst>
                    <a:gs pos="3670">
                      <a:srgbClr val="505050"/>
                    </a:gs>
                    <a:gs pos="100000">
                      <a:srgbClr val="505050"/>
                    </a:gs>
                  </a:gsLst>
                  <a:lin ang="5400000" scaled="0"/>
                </a:gradFill>
              </a:rPr>
              <a:t>for cloud users</a:t>
            </a:r>
          </a:p>
        </p:txBody>
      </p:sp>
      <p:sp>
        <p:nvSpPr>
          <p:cNvPr id="16" name="Rectangle 15"/>
          <p:cNvSpPr/>
          <p:nvPr/>
        </p:nvSpPr>
        <p:spPr>
          <a:xfrm>
            <a:off x="281515" y="2128631"/>
            <a:ext cx="4051829" cy="1557349"/>
          </a:xfrm>
          <a:prstGeom prst="rect">
            <a:avLst/>
          </a:prstGeom>
        </p:spPr>
        <p:txBody>
          <a:bodyPr wrap="square" lIns="182880" tIns="146304" rIns="182880" bIns="146304">
            <a:spAutoFit/>
          </a:bodyPr>
          <a:lstStyle/>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Company branded, personalized application Access Panel : </a:t>
            </a:r>
          </a:p>
          <a:p>
            <a:pPr defTabSz="914099" fontAlgn="base">
              <a:lnSpc>
                <a:spcPct val="90000"/>
              </a:lnSpc>
              <a:spcBef>
                <a:spcPts val="600"/>
              </a:spcBef>
              <a:spcAft>
                <a:spcPct val="0"/>
              </a:spcAft>
            </a:pPr>
            <a:r>
              <a:rPr lang="en-US" sz="2000" spc="-90" dirty="0">
                <a:solidFill>
                  <a:srgbClr val="0072C6">
                    <a:lumMod val="75000"/>
                  </a:srgbClr>
                </a:solidFill>
              </a:rPr>
              <a:t>http://myapps.microsoft.com</a:t>
            </a:r>
          </a:p>
          <a:p>
            <a:pPr defTabSz="914099" fontAlgn="base">
              <a:lnSpc>
                <a:spcPct val="90000"/>
              </a:lnSpc>
              <a:spcBef>
                <a:spcPts val="600"/>
              </a:spcBef>
              <a:spcAft>
                <a:spcPct val="0"/>
              </a:spcAft>
            </a:pPr>
            <a:r>
              <a:rPr lang="en-US" sz="2000" spc="-90" dirty="0">
                <a:gradFill>
                  <a:gsLst>
                    <a:gs pos="3670">
                      <a:srgbClr val="505050"/>
                    </a:gs>
                    <a:gs pos="100000">
                      <a:srgbClr val="505050"/>
                    </a:gs>
                  </a:gsLst>
                  <a:lin ang="5400000" scaled="0"/>
                </a:gradFill>
              </a:rPr>
              <a:t>+ Mobile Apps</a:t>
            </a:r>
          </a:p>
        </p:txBody>
      </p:sp>
      <p:sp>
        <p:nvSpPr>
          <p:cNvPr id="11" name="Rectangle 10"/>
          <p:cNvSpPr/>
          <p:nvPr/>
        </p:nvSpPr>
        <p:spPr bwMode="auto">
          <a:xfrm>
            <a:off x="-6447" y="9706"/>
            <a:ext cx="12436475" cy="164463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a:solidFill>
            <a:srgbClr val="FFFFFF"/>
          </a:solidFill>
        </p:spPr>
        <p:txBody>
          <a:bodyPr lIns="1920240"/>
          <a:lstStyle/>
          <a:p>
            <a:pPr lvl="0" defTabSz="914099" fontAlgn="base">
              <a:spcAft>
                <a:spcPct val="0"/>
              </a:spcAft>
            </a:pPr>
            <a:r>
              <a:rPr lang="en-US" sz="4000" dirty="0" smtClean="0">
                <a:gradFill>
                  <a:gsLst>
                    <a:gs pos="9167">
                      <a:schemeClr val="bg2"/>
                    </a:gs>
                    <a:gs pos="100000">
                      <a:schemeClr val="bg2"/>
                    </a:gs>
                  </a:gsLst>
                  <a:lin ang="5400000" scaled="0"/>
                </a:gradFill>
              </a:rPr>
              <a:t>Empower Users</a:t>
            </a:r>
            <a:endParaRPr lang="en-US" sz="4000" dirty="0">
              <a:gradFill>
                <a:gsLst>
                  <a:gs pos="9167">
                    <a:schemeClr val="bg2"/>
                  </a:gs>
                  <a:gs pos="100000">
                    <a:schemeClr val="bg2"/>
                  </a:gs>
                </a:gsLst>
                <a:lin ang="5400000" scaled="0"/>
              </a:gradFill>
            </a:endParaRPr>
          </a:p>
        </p:txBody>
      </p:sp>
      <p:sp useBgFill="1">
        <p:nvSpPr>
          <p:cNvPr id="81" name="Rectangle 80"/>
          <p:cNvSpPr/>
          <p:nvPr/>
        </p:nvSpPr>
        <p:spPr bwMode="auto">
          <a:xfrm>
            <a:off x="12161838" y="1504950"/>
            <a:ext cx="268190" cy="540067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8" name="Rectangle 17"/>
          <p:cNvSpPr/>
          <p:nvPr/>
        </p:nvSpPr>
        <p:spPr bwMode="auto">
          <a:xfrm>
            <a:off x="0" y="5887453"/>
            <a:ext cx="12436475" cy="11070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 name="Rectangle 16"/>
          <p:cNvSpPr/>
          <p:nvPr/>
        </p:nvSpPr>
        <p:spPr bwMode="auto">
          <a:xfrm>
            <a:off x="0" y="6705407"/>
            <a:ext cx="12436475" cy="289118"/>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609304" y="2558690"/>
            <a:ext cx="1725872" cy="2402032"/>
          </a:xfrm>
          <a:prstGeom prst="rect">
            <a:avLst/>
          </a:prstGeom>
        </p:spPr>
      </p:pic>
      <p:grpSp>
        <p:nvGrpSpPr>
          <p:cNvPr id="39" name="Group 38"/>
          <p:cNvGrpSpPr/>
          <p:nvPr/>
        </p:nvGrpSpPr>
        <p:grpSpPr>
          <a:xfrm>
            <a:off x="172499" y="174123"/>
            <a:ext cx="1777313" cy="1766618"/>
            <a:chOff x="9251849" y="3296296"/>
            <a:chExt cx="2897135" cy="2879702"/>
          </a:xfrm>
        </p:grpSpPr>
        <p:grpSp>
          <p:nvGrpSpPr>
            <p:cNvPr id="40" name="Group 39"/>
            <p:cNvGrpSpPr/>
            <p:nvPr/>
          </p:nvGrpSpPr>
          <p:grpSpPr>
            <a:xfrm>
              <a:off x="9251849" y="3296296"/>
              <a:ext cx="2897135" cy="2879702"/>
              <a:chOff x="9251849" y="3296296"/>
              <a:chExt cx="2897135" cy="2879702"/>
            </a:xfrm>
          </p:grpSpPr>
          <p:sp>
            <p:nvSpPr>
              <p:cNvPr id="42" name="Oval 41"/>
              <p:cNvSpPr/>
              <p:nvPr/>
            </p:nvSpPr>
            <p:spPr bwMode="auto">
              <a:xfrm>
                <a:off x="9269282" y="3296296"/>
                <a:ext cx="2879702" cy="2879702"/>
              </a:xfrm>
              <a:prstGeom prst="ellipse">
                <a:avLst/>
              </a:prstGeom>
              <a:solidFill>
                <a:srgbClr val="FFFFFF"/>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3" name="Rectangle 119"/>
              <p:cNvSpPr/>
              <p:nvPr/>
            </p:nvSpPr>
            <p:spPr bwMode="auto">
              <a:xfrm>
                <a:off x="9477251" y="3670938"/>
                <a:ext cx="2480345" cy="341552"/>
              </a:xfrm>
              <a:custGeom>
                <a:avLst/>
                <a:gdLst>
                  <a:gd name="connsiteX0" fmla="*/ 0 w 2820374"/>
                  <a:gd name="connsiteY0" fmla="*/ 0 h 355689"/>
                  <a:gd name="connsiteX1" fmla="*/ 2820374 w 2820374"/>
                  <a:gd name="connsiteY1" fmla="*/ 0 h 355689"/>
                  <a:gd name="connsiteX2" fmla="*/ 2820374 w 2820374"/>
                  <a:gd name="connsiteY2" fmla="*/ 355689 h 355689"/>
                  <a:gd name="connsiteX3" fmla="*/ 0 w 2820374"/>
                  <a:gd name="connsiteY3" fmla="*/ 355689 h 355689"/>
                  <a:gd name="connsiteX4" fmla="*/ 0 w 2820374"/>
                  <a:gd name="connsiteY4" fmla="*/ 0 h 355689"/>
                  <a:gd name="connsiteX0" fmla="*/ 432667 w 2820374"/>
                  <a:gd name="connsiteY0" fmla="*/ 8921 h 355689"/>
                  <a:gd name="connsiteX1" fmla="*/ 2820374 w 2820374"/>
                  <a:gd name="connsiteY1" fmla="*/ 0 h 355689"/>
                  <a:gd name="connsiteX2" fmla="*/ 2820374 w 2820374"/>
                  <a:gd name="connsiteY2" fmla="*/ 355689 h 355689"/>
                  <a:gd name="connsiteX3" fmla="*/ 0 w 2820374"/>
                  <a:gd name="connsiteY3" fmla="*/ 355689 h 355689"/>
                  <a:gd name="connsiteX4" fmla="*/ 432667 w 2820374"/>
                  <a:gd name="connsiteY4" fmla="*/ 8921 h 355689"/>
                  <a:gd name="connsiteX0" fmla="*/ 276550 w 2664257"/>
                  <a:gd name="connsiteY0" fmla="*/ 8921 h 355689"/>
                  <a:gd name="connsiteX1" fmla="*/ 2664257 w 2664257"/>
                  <a:gd name="connsiteY1" fmla="*/ 0 h 355689"/>
                  <a:gd name="connsiteX2" fmla="*/ 2664257 w 2664257"/>
                  <a:gd name="connsiteY2" fmla="*/ 355689 h 355689"/>
                  <a:gd name="connsiteX3" fmla="*/ 0 w 2664257"/>
                  <a:gd name="connsiteY3" fmla="*/ 346768 h 355689"/>
                  <a:gd name="connsiteX4" fmla="*/ 276550 w 2664257"/>
                  <a:gd name="connsiteY4" fmla="*/ 8921 h 355689"/>
                  <a:gd name="connsiteX0" fmla="*/ 276550 w 2664257"/>
                  <a:gd name="connsiteY0" fmla="*/ 4461 h 351229"/>
                  <a:gd name="connsiteX1" fmla="*/ 2213747 w 2664257"/>
                  <a:gd name="connsiteY1" fmla="*/ 0 h 351229"/>
                  <a:gd name="connsiteX2" fmla="*/ 2664257 w 2664257"/>
                  <a:gd name="connsiteY2" fmla="*/ 351229 h 351229"/>
                  <a:gd name="connsiteX3" fmla="*/ 0 w 2664257"/>
                  <a:gd name="connsiteY3" fmla="*/ 342308 h 351229"/>
                  <a:gd name="connsiteX4" fmla="*/ 276550 w 2664257"/>
                  <a:gd name="connsiteY4" fmla="*/ 4461 h 351229"/>
                  <a:gd name="connsiteX0" fmla="*/ 276550 w 2485837"/>
                  <a:gd name="connsiteY0" fmla="*/ 4461 h 346768"/>
                  <a:gd name="connsiteX1" fmla="*/ 2213747 w 2485837"/>
                  <a:gd name="connsiteY1" fmla="*/ 0 h 346768"/>
                  <a:gd name="connsiteX2" fmla="*/ 2485837 w 2485837"/>
                  <a:gd name="connsiteY2" fmla="*/ 346768 h 346768"/>
                  <a:gd name="connsiteX3" fmla="*/ 0 w 2485837"/>
                  <a:gd name="connsiteY3" fmla="*/ 342308 h 346768"/>
                  <a:gd name="connsiteX4" fmla="*/ 276550 w 2485837"/>
                  <a:gd name="connsiteY4" fmla="*/ 4461 h 346768"/>
                  <a:gd name="connsiteX0" fmla="*/ 276550 w 2485837"/>
                  <a:gd name="connsiteY0" fmla="*/ 1 h 342308"/>
                  <a:gd name="connsiteX1" fmla="*/ 2186984 w 2485837"/>
                  <a:gd name="connsiteY1" fmla="*/ 0 h 342308"/>
                  <a:gd name="connsiteX2" fmla="*/ 2485837 w 2485837"/>
                  <a:gd name="connsiteY2" fmla="*/ 342308 h 342308"/>
                  <a:gd name="connsiteX3" fmla="*/ 0 w 2485837"/>
                  <a:gd name="connsiteY3" fmla="*/ 337848 h 342308"/>
                  <a:gd name="connsiteX4" fmla="*/ 276550 w 2485837"/>
                  <a:gd name="connsiteY4" fmla="*/ 1 h 342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837" h="342308">
                    <a:moveTo>
                      <a:pt x="276550" y="1"/>
                    </a:moveTo>
                    <a:lnTo>
                      <a:pt x="2186984" y="0"/>
                    </a:lnTo>
                    <a:lnTo>
                      <a:pt x="2485837" y="342308"/>
                    </a:lnTo>
                    <a:lnTo>
                      <a:pt x="0" y="337848"/>
                    </a:lnTo>
                    <a:lnTo>
                      <a:pt x="276550" y="1"/>
                    </a:lnTo>
                    <a:close/>
                  </a:path>
                </a:pathLst>
              </a:cu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4" name="Group 43"/>
              <p:cNvGrpSpPr/>
              <p:nvPr/>
            </p:nvGrpSpPr>
            <p:grpSpPr>
              <a:xfrm flipH="1">
                <a:off x="9251849" y="4235118"/>
                <a:ext cx="2508365" cy="1356398"/>
                <a:chOff x="9610804" y="4481600"/>
                <a:chExt cx="2567274" cy="1388256"/>
              </a:xfrm>
            </p:grpSpPr>
            <p:grpSp>
              <p:nvGrpSpPr>
                <p:cNvPr id="47" name="Group 46"/>
                <p:cNvGrpSpPr/>
                <p:nvPr/>
              </p:nvGrpSpPr>
              <p:grpSpPr>
                <a:xfrm>
                  <a:off x="9610804" y="4481600"/>
                  <a:ext cx="2567274" cy="666918"/>
                  <a:chOff x="9476996" y="4481599"/>
                  <a:chExt cx="2713388" cy="704875"/>
                </a:xfrm>
                <a:solidFill>
                  <a:schemeClr val="bg2"/>
                </a:solidFill>
              </p:grpSpPr>
              <p:sp>
                <p:nvSpPr>
                  <p:cNvPr id="78" name="Rectangle 77"/>
                  <p:cNvSpPr/>
                  <p:nvPr/>
                </p:nvSpPr>
                <p:spPr bwMode="auto">
                  <a:xfrm>
                    <a:off x="9476996" y="4481599"/>
                    <a:ext cx="704875" cy="70487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9" name="Rectangle 78"/>
                  <p:cNvSpPr/>
                  <p:nvPr/>
                </p:nvSpPr>
                <p:spPr bwMode="auto">
                  <a:xfrm>
                    <a:off x="10241657"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0" name="Rectangle 79"/>
                  <p:cNvSpPr/>
                  <p:nvPr/>
                </p:nvSpPr>
                <p:spPr bwMode="auto">
                  <a:xfrm>
                    <a:off x="11006318" y="4481599"/>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2" name="Rectangle 123"/>
                  <p:cNvSpPr/>
                  <p:nvPr/>
                </p:nvSpPr>
                <p:spPr bwMode="auto">
                  <a:xfrm>
                    <a:off x="11770980" y="4481599"/>
                    <a:ext cx="419404"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281129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 name="connsiteX0" fmla="*/ 0 w 419404"/>
                      <a:gd name="connsiteY0" fmla="*/ 0 h 704875"/>
                      <a:gd name="connsiteX1" fmla="*/ 281129 w 419404"/>
                      <a:gd name="connsiteY1" fmla="*/ 0 h 704875"/>
                      <a:gd name="connsiteX2" fmla="*/ 419404 w 419404"/>
                      <a:gd name="connsiteY2" fmla="*/ 700414 h 704875"/>
                      <a:gd name="connsiteX3" fmla="*/ 0 w 419404"/>
                      <a:gd name="connsiteY3" fmla="*/ 704875 h 704875"/>
                      <a:gd name="connsiteX4" fmla="*/ 0 w 419404"/>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04" h="704875">
                        <a:moveTo>
                          <a:pt x="0" y="0"/>
                        </a:moveTo>
                        <a:lnTo>
                          <a:pt x="281129" y="0"/>
                        </a:lnTo>
                        <a:cubicBezTo>
                          <a:pt x="327221" y="233471"/>
                          <a:pt x="413457" y="355431"/>
                          <a:pt x="419404" y="70041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72" name="Group 71"/>
                <p:cNvGrpSpPr/>
                <p:nvPr/>
              </p:nvGrpSpPr>
              <p:grpSpPr>
                <a:xfrm>
                  <a:off x="9610804" y="5202938"/>
                  <a:ext cx="2558833" cy="666918"/>
                  <a:chOff x="9469082" y="4427995"/>
                  <a:chExt cx="2704467" cy="704875"/>
                </a:xfrm>
                <a:solidFill>
                  <a:schemeClr val="bg2"/>
                </a:solidFill>
              </p:grpSpPr>
              <p:sp>
                <p:nvSpPr>
                  <p:cNvPr id="73" name="Rectangle 72"/>
                  <p:cNvSpPr/>
                  <p:nvPr/>
                </p:nvSpPr>
                <p:spPr bwMode="auto">
                  <a:xfrm>
                    <a:off x="946908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4" name="Rectangle 73"/>
                  <p:cNvSpPr/>
                  <p:nvPr/>
                </p:nvSpPr>
                <p:spPr bwMode="auto">
                  <a:xfrm>
                    <a:off x="10233742"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5" name="Rectangle 74"/>
                  <p:cNvSpPr/>
                  <p:nvPr/>
                </p:nvSpPr>
                <p:spPr bwMode="auto">
                  <a:xfrm>
                    <a:off x="10998403" y="4427995"/>
                    <a:ext cx="704875" cy="704875"/>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6" name="Rectangle 131"/>
                  <p:cNvSpPr/>
                  <p:nvPr/>
                </p:nvSpPr>
                <p:spPr bwMode="auto">
                  <a:xfrm>
                    <a:off x="11763066" y="4427995"/>
                    <a:ext cx="410483" cy="704875"/>
                  </a:xfrm>
                  <a:custGeom>
                    <a:avLst/>
                    <a:gdLst>
                      <a:gd name="connsiteX0" fmla="*/ 0 w 704875"/>
                      <a:gd name="connsiteY0" fmla="*/ 0 h 704875"/>
                      <a:gd name="connsiteX1" fmla="*/ 704875 w 704875"/>
                      <a:gd name="connsiteY1" fmla="*/ 0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3382 h 704875"/>
                      <a:gd name="connsiteX2" fmla="*/ 704875 w 704875"/>
                      <a:gd name="connsiteY2" fmla="*/ 704875 h 704875"/>
                      <a:gd name="connsiteX3" fmla="*/ 0 w 704875"/>
                      <a:gd name="connsiteY3" fmla="*/ 704875 h 704875"/>
                      <a:gd name="connsiteX4" fmla="*/ 0 w 704875"/>
                      <a:gd name="connsiteY4" fmla="*/ 0 h 704875"/>
                      <a:gd name="connsiteX0" fmla="*/ 0 w 704875"/>
                      <a:gd name="connsiteY0" fmla="*/ 0 h 704875"/>
                      <a:gd name="connsiteX1" fmla="*/ 410483 w 704875"/>
                      <a:gd name="connsiteY1" fmla="*/ 1 h 704875"/>
                      <a:gd name="connsiteX2" fmla="*/ 704875 w 704875"/>
                      <a:gd name="connsiteY2" fmla="*/ 704875 h 704875"/>
                      <a:gd name="connsiteX3" fmla="*/ 0 w 704875"/>
                      <a:gd name="connsiteY3" fmla="*/ 704875 h 704875"/>
                      <a:gd name="connsiteX4" fmla="*/ 0 w 704875"/>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56235 w 410483"/>
                      <a:gd name="connsiteY2" fmla="*/ 695954 h 704875"/>
                      <a:gd name="connsiteX3" fmla="*/ 0 w 410483"/>
                      <a:gd name="connsiteY3" fmla="*/ 704875 h 704875"/>
                      <a:gd name="connsiteX4" fmla="*/ 0 w 410483"/>
                      <a:gd name="connsiteY4" fmla="*/ 0 h 704875"/>
                      <a:gd name="connsiteX0" fmla="*/ 0 w 410483"/>
                      <a:gd name="connsiteY0" fmla="*/ 0 h 704875"/>
                      <a:gd name="connsiteX1" fmla="*/ 410483 w 410483"/>
                      <a:gd name="connsiteY1" fmla="*/ 1 h 704875"/>
                      <a:gd name="connsiteX2" fmla="*/ 138393 w 410483"/>
                      <a:gd name="connsiteY2" fmla="*/ 695954 h 704875"/>
                      <a:gd name="connsiteX3" fmla="*/ 0 w 410483"/>
                      <a:gd name="connsiteY3" fmla="*/ 704875 h 704875"/>
                      <a:gd name="connsiteX4" fmla="*/ 0 w 410483"/>
                      <a:gd name="connsiteY4" fmla="*/ 0 h 7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483" h="704875">
                        <a:moveTo>
                          <a:pt x="0" y="0"/>
                        </a:moveTo>
                        <a:lnTo>
                          <a:pt x="410483" y="1"/>
                        </a:lnTo>
                        <a:cubicBezTo>
                          <a:pt x="325734" y="231985"/>
                          <a:pt x="303430" y="441667"/>
                          <a:pt x="138393" y="695954"/>
                        </a:cubicBezTo>
                        <a:lnTo>
                          <a:pt x="0" y="704875"/>
                        </a:lnTo>
                        <a:lnTo>
                          <a:pt x="0" y="0"/>
                        </a:ln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sp>
            <p:nvSpPr>
              <p:cNvPr id="45" name="Oval 44"/>
              <p:cNvSpPr/>
              <p:nvPr/>
            </p:nvSpPr>
            <p:spPr bwMode="auto">
              <a:xfrm>
                <a:off x="9269282" y="3296296"/>
                <a:ext cx="2879702" cy="2879702"/>
              </a:xfrm>
              <a:prstGeom prst="ellipse">
                <a:avLst/>
              </a:prstGeom>
              <a:noFill/>
              <a:ln w="381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41" name="Freeform 5"/>
            <p:cNvSpPr>
              <a:spLocks/>
            </p:cNvSpPr>
            <p:nvPr/>
          </p:nvSpPr>
          <p:spPr bwMode="auto">
            <a:xfrm>
              <a:off x="9741245" y="4676946"/>
              <a:ext cx="1016966" cy="1388095"/>
            </a:xfrm>
            <a:custGeom>
              <a:avLst/>
              <a:gdLst>
                <a:gd name="T0" fmla="*/ 687 w 954"/>
                <a:gd name="T1" fmla="*/ 525 h 1304"/>
                <a:gd name="T2" fmla="*/ 685 w 954"/>
                <a:gd name="T3" fmla="*/ 525 h 1304"/>
                <a:gd name="T4" fmla="*/ 651 w 954"/>
                <a:gd name="T5" fmla="*/ 523 h 1304"/>
                <a:gd name="T6" fmla="*/ 632 w 954"/>
                <a:gd name="T7" fmla="*/ 490 h 1304"/>
                <a:gd name="T8" fmla="*/ 621 w 954"/>
                <a:gd name="T9" fmla="*/ 475 h 1304"/>
                <a:gd name="T10" fmla="*/ 521 w 954"/>
                <a:gd name="T11" fmla="*/ 438 h 1304"/>
                <a:gd name="T12" fmla="*/ 488 w 954"/>
                <a:gd name="T13" fmla="*/ 445 h 1304"/>
                <a:gd name="T14" fmla="*/ 488 w 954"/>
                <a:gd name="T15" fmla="*/ 442 h 1304"/>
                <a:gd name="T16" fmla="*/ 488 w 954"/>
                <a:gd name="T17" fmla="*/ 440 h 1304"/>
                <a:gd name="T18" fmla="*/ 384 w 954"/>
                <a:gd name="T19" fmla="*/ 49 h 1304"/>
                <a:gd name="T20" fmla="*/ 318 w 954"/>
                <a:gd name="T21" fmla="*/ 4 h 1304"/>
                <a:gd name="T22" fmla="*/ 275 w 954"/>
                <a:gd name="T23" fmla="*/ 71 h 1304"/>
                <a:gd name="T24" fmla="*/ 377 w 954"/>
                <a:gd name="T25" fmla="*/ 617 h 1304"/>
                <a:gd name="T26" fmla="*/ 379 w 954"/>
                <a:gd name="T27" fmla="*/ 636 h 1304"/>
                <a:gd name="T28" fmla="*/ 353 w 954"/>
                <a:gd name="T29" fmla="*/ 703 h 1304"/>
                <a:gd name="T30" fmla="*/ 337 w 954"/>
                <a:gd name="T31" fmla="*/ 715 h 1304"/>
                <a:gd name="T32" fmla="*/ 251 w 954"/>
                <a:gd name="T33" fmla="*/ 693 h 1304"/>
                <a:gd name="T34" fmla="*/ 178 w 954"/>
                <a:gd name="T35" fmla="*/ 589 h 1304"/>
                <a:gd name="T36" fmla="*/ 142 w 954"/>
                <a:gd name="T37" fmla="*/ 532 h 1304"/>
                <a:gd name="T38" fmla="*/ 22 w 954"/>
                <a:gd name="T39" fmla="*/ 509 h 1304"/>
                <a:gd name="T40" fmla="*/ 10 w 954"/>
                <a:gd name="T41" fmla="*/ 554 h 1304"/>
                <a:gd name="T42" fmla="*/ 52 w 954"/>
                <a:gd name="T43" fmla="*/ 615 h 1304"/>
                <a:gd name="T44" fmla="*/ 74 w 954"/>
                <a:gd name="T45" fmla="*/ 670 h 1304"/>
                <a:gd name="T46" fmla="*/ 90 w 954"/>
                <a:gd name="T47" fmla="*/ 722 h 1304"/>
                <a:gd name="T48" fmla="*/ 116 w 954"/>
                <a:gd name="T49" fmla="*/ 762 h 1304"/>
                <a:gd name="T50" fmla="*/ 166 w 954"/>
                <a:gd name="T51" fmla="*/ 845 h 1304"/>
                <a:gd name="T52" fmla="*/ 249 w 954"/>
                <a:gd name="T53" fmla="*/ 999 h 1304"/>
                <a:gd name="T54" fmla="*/ 403 w 954"/>
                <a:gd name="T55" fmla="*/ 1136 h 1304"/>
                <a:gd name="T56" fmla="*/ 457 w 954"/>
                <a:gd name="T57" fmla="*/ 1190 h 1304"/>
                <a:gd name="T58" fmla="*/ 479 w 954"/>
                <a:gd name="T59" fmla="*/ 1304 h 1304"/>
                <a:gd name="T60" fmla="*/ 933 w 954"/>
                <a:gd name="T61" fmla="*/ 1226 h 1304"/>
                <a:gd name="T62" fmla="*/ 912 w 954"/>
                <a:gd name="T63" fmla="*/ 1129 h 1304"/>
                <a:gd name="T64" fmla="*/ 909 w 954"/>
                <a:gd name="T65" fmla="*/ 1126 h 1304"/>
                <a:gd name="T66" fmla="*/ 931 w 954"/>
                <a:gd name="T67" fmla="*/ 1053 h 1304"/>
                <a:gd name="T68" fmla="*/ 940 w 954"/>
                <a:gd name="T69" fmla="*/ 991 h 1304"/>
                <a:gd name="T70" fmla="*/ 947 w 954"/>
                <a:gd name="T71" fmla="*/ 831 h 1304"/>
                <a:gd name="T72" fmla="*/ 950 w 954"/>
                <a:gd name="T73" fmla="*/ 802 h 1304"/>
                <a:gd name="T74" fmla="*/ 872 w 954"/>
                <a:gd name="T75" fmla="*/ 684 h 1304"/>
                <a:gd name="T76" fmla="*/ 869 w 954"/>
                <a:gd name="T77" fmla="*/ 681 h 1304"/>
                <a:gd name="T78" fmla="*/ 805 w 954"/>
                <a:gd name="T79" fmla="*/ 589 h 1304"/>
                <a:gd name="T80" fmla="*/ 687 w 954"/>
                <a:gd name="T81" fmla="*/ 525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4" h="1304">
                  <a:moveTo>
                    <a:pt x="687" y="525"/>
                  </a:moveTo>
                  <a:cubicBezTo>
                    <a:pt x="685" y="525"/>
                    <a:pt x="685" y="525"/>
                    <a:pt x="685" y="525"/>
                  </a:cubicBezTo>
                  <a:cubicBezTo>
                    <a:pt x="651" y="523"/>
                    <a:pt x="651" y="523"/>
                    <a:pt x="651" y="523"/>
                  </a:cubicBezTo>
                  <a:cubicBezTo>
                    <a:pt x="632" y="490"/>
                    <a:pt x="632" y="490"/>
                    <a:pt x="632" y="490"/>
                  </a:cubicBezTo>
                  <a:cubicBezTo>
                    <a:pt x="628" y="485"/>
                    <a:pt x="625" y="480"/>
                    <a:pt x="621" y="475"/>
                  </a:cubicBezTo>
                  <a:cubicBezTo>
                    <a:pt x="592" y="452"/>
                    <a:pt x="559" y="438"/>
                    <a:pt x="521" y="438"/>
                  </a:cubicBezTo>
                  <a:cubicBezTo>
                    <a:pt x="488" y="445"/>
                    <a:pt x="488" y="445"/>
                    <a:pt x="488" y="445"/>
                  </a:cubicBezTo>
                  <a:cubicBezTo>
                    <a:pt x="488" y="442"/>
                    <a:pt x="488" y="442"/>
                    <a:pt x="488" y="442"/>
                  </a:cubicBezTo>
                  <a:cubicBezTo>
                    <a:pt x="488" y="440"/>
                    <a:pt x="488" y="440"/>
                    <a:pt x="488" y="440"/>
                  </a:cubicBezTo>
                  <a:cubicBezTo>
                    <a:pt x="384" y="49"/>
                    <a:pt x="384" y="49"/>
                    <a:pt x="384" y="49"/>
                  </a:cubicBezTo>
                  <a:cubicBezTo>
                    <a:pt x="370" y="0"/>
                    <a:pt x="346" y="0"/>
                    <a:pt x="318" y="4"/>
                  </a:cubicBezTo>
                  <a:cubicBezTo>
                    <a:pt x="318" y="4"/>
                    <a:pt x="263" y="12"/>
                    <a:pt x="275" y="71"/>
                  </a:cubicBezTo>
                  <a:cubicBezTo>
                    <a:pt x="377" y="617"/>
                    <a:pt x="377" y="617"/>
                    <a:pt x="377" y="617"/>
                  </a:cubicBezTo>
                  <a:cubicBezTo>
                    <a:pt x="377" y="625"/>
                    <a:pt x="379" y="629"/>
                    <a:pt x="379" y="636"/>
                  </a:cubicBezTo>
                  <a:cubicBezTo>
                    <a:pt x="379" y="660"/>
                    <a:pt x="370" y="684"/>
                    <a:pt x="353" y="703"/>
                  </a:cubicBezTo>
                  <a:cubicBezTo>
                    <a:pt x="348" y="710"/>
                    <a:pt x="341" y="715"/>
                    <a:pt x="337" y="715"/>
                  </a:cubicBezTo>
                  <a:cubicBezTo>
                    <a:pt x="306" y="719"/>
                    <a:pt x="277" y="712"/>
                    <a:pt x="251" y="693"/>
                  </a:cubicBezTo>
                  <a:cubicBezTo>
                    <a:pt x="221" y="670"/>
                    <a:pt x="199" y="620"/>
                    <a:pt x="178" y="589"/>
                  </a:cubicBezTo>
                  <a:cubicBezTo>
                    <a:pt x="166" y="570"/>
                    <a:pt x="157" y="549"/>
                    <a:pt x="142" y="532"/>
                  </a:cubicBezTo>
                  <a:cubicBezTo>
                    <a:pt x="114" y="504"/>
                    <a:pt x="57" y="480"/>
                    <a:pt x="22" y="509"/>
                  </a:cubicBezTo>
                  <a:cubicBezTo>
                    <a:pt x="12" y="518"/>
                    <a:pt x="0" y="542"/>
                    <a:pt x="10" y="554"/>
                  </a:cubicBezTo>
                  <a:cubicBezTo>
                    <a:pt x="24" y="573"/>
                    <a:pt x="43" y="594"/>
                    <a:pt x="52" y="615"/>
                  </a:cubicBezTo>
                  <a:cubicBezTo>
                    <a:pt x="62" y="632"/>
                    <a:pt x="67" y="651"/>
                    <a:pt x="74" y="670"/>
                  </a:cubicBezTo>
                  <a:cubicBezTo>
                    <a:pt x="78" y="681"/>
                    <a:pt x="81" y="712"/>
                    <a:pt x="90" y="722"/>
                  </a:cubicBezTo>
                  <a:cubicBezTo>
                    <a:pt x="100" y="731"/>
                    <a:pt x="109" y="750"/>
                    <a:pt x="116" y="762"/>
                  </a:cubicBezTo>
                  <a:cubicBezTo>
                    <a:pt x="133" y="788"/>
                    <a:pt x="157" y="816"/>
                    <a:pt x="166" y="845"/>
                  </a:cubicBezTo>
                  <a:cubicBezTo>
                    <a:pt x="199" y="892"/>
                    <a:pt x="213" y="954"/>
                    <a:pt x="249" y="999"/>
                  </a:cubicBezTo>
                  <a:cubicBezTo>
                    <a:pt x="294" y="1053"/>
                    <a:pt x="337" y="1105"/>
                    <a:pt x="403" y="1136"/>
                  </a:cubicBezTo>
                  <a:cubicBezTo>
                    <a:pt x="426" y="1150"/>
                    <a:pt x="443" y="1169"/>
                    <a:pt x="457" y="1190"/>
                  </a:cubicBezTo>
                  <a:cubicBezTo>
                    <a:pt x="479" y="1304"/>
                    <a:pt x="479" y="1304"/>
                    <a:pt x="479" y="1304"/>
                  </a:cubicBezTo>
                  <a:cubicBezTo>
                    <a:pt x="561" y="1290"/>
                    <a:pt x="898" y="1233"/>
                    <a:pt x="933" y="1226"/>
                  </a:cubicBezTo>
                  <a:cubicBezTo>
                    <a:pt x="912" y="1129"/>
                    <a:pt x="912" y="1129"/>
                    <a:pt x="912" y="1129"/>
                  </a:cubicBezTo>
                  <a:cubicBezTo>
                    <a:pt x="909" y="1126"/>
                    <a:pt x="909" y="1126"/>
                    <a:pt x="909" y="1126"/>
                  </a:cubicBezTo>
                  <a:cubicBezTo>
                    <a:pt x="919" y="1103"/>
                    <a:pt x="924" y="1077"/>
                    <a:pt x="931" y="1053"/>
                  </a:cubicBezTo>
                  <a:cubicBezTo>
                    <a:pt x="936" y="1032"/>
                    <a:pt x="940" y="1013"/>
                    <a:pt x="940" y="991"/>
                  </a:cubicBezTo>
                  <a:cubicBezTo>
                    <a:pt x="943" y="939"/>
                    <a:pt x="945" y="885"/>
                    <a:pt x="947" y="831"/>
                  </a:cubicBezTo>
                  <a:cubicBezTo>
                    <a:pt x="947" y="821"/>
                    <a:pt x="947" y="812"/>
                    <a:pt x="950" y="802"/>
                  </a:cubicBezTo>
                  <a:cubicBezTo>
                    <a:pt x="954" y="771"/>
                    <a:pt x="936" y="688"/>
                    <a:pt x="872" y="684"/>
                  </a:cubicBezTo>
                  <a:cubicBezTo>
                    <a:pt x="869" y="684"/>
                    <a:pt x="869" y="684"/>
                    <a:pt x="869" y="681"/>
                  </a:cubicBezTo>
                  <a:cubicBezTo>
                    <a:pt x="853" y="648"/>
                    <a:pt x="831" y="617"/>
                    <a:pt x="805" y="589"/>
                  </a:cubicBezTo>
                  <a:cubicBezTo>
                    <a:pt x="775" y="556"/>
                    <a:pt x="732" y="532"/>
                    <a:pt x="687" y="525"/>
                  </a:cubicBezTo>
                  <a:close/>
                </a:path>
              </a:pathLst>
            </a:custGeom>
            <a:solidFill>
              <a:schemeClr val="bg2"/>
            </a:solidFill>
            <a:ln w="285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605111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500"/>
                                        <p:tgtEl>
                                          <p:spTgt spid="60"/>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nodeType="with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a:xfrm>
            <a:off x="274638" y="3954463"/>
            <a:ext cx="9227171" cy="1829593"/>
          </a:xfrm>
        </p:spPr>
        <p:txBody>
          <a:bodyPr/>
          <a:lstStyle/>
          <a:p>
            <a:pPr marL="571500" indent="-571500">
              <a:buFont typeface="Arial" panose="020B0604020202020204" pitchFamily="34" charset="0"/>
              <a:buChar char="•"/>
            </a:pPr>
            <a:r>
              <a:rPr lang="en-US" dirty="0" smtClean="0"/>
              <a:t>Cloud Application Discovery</a:t>
            </a:r>
          </a:p>
          <a:p>
            <a:pPr marL="571500" indent="-571500">
              <a:buFont typeface="Arial" panose="020B0604020202020204" pitchFamily="34" charset="0"/>
              <a:buChar char="•"/>
            </a:pPr>
            <a:r>
              <a:rPr lang="en-US" dirty="0" smtClean="0"/>
              <a:t>Managing Azure Active Directory Premium</a:t>
            </a:r>
          </a:p>
          <a:p>
            <a:pPr marL="571500" indent="-571500">
              <a:buFont typeface="Arial" panose="020B0604020202020204" pitchFamily="34" charset="0"/>
              <a:buChar char="•"/>
            </a:pPr>
            <a:r>
              <a:rPr lang="en-US" dirty="0" smtClean="0"/>
              <a:t>End-User Experience</a:t>
            </a:r>
            <a:endParaRPr lang="en-US" dirty="0"/>
          </a:p>
        </p:txBody>
      </p:sp>
    </p:spTree>
    <p:extLst>
      <p:ext uri="{BB962C8B-B14F-4D97-AF65-F5344CB8AC3E}">
        <p14:creationId xmlns:p14="http://schemas.microsoft.com/office/powerpoint/2010/main" val="222282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95979" y="112136"/>
            <a:ext cx="11885832" cy="450944"/>
          </a:xfrm>
        </p:spPr>
        <p:txBody>
          <a:bodyPr/>
          <a:lstStyle/>
          <a:p>
            <a:r>
              <a:rPr lang="en-US" sz="3199" dirty="0">
                <a:gradFill>
                  <a:gsLst>
                    <a:gs pos="6195">
                      <a:schemeClr val="tx2"/>
                    </a:gs>
                    <a:gs pos="100000">
                      <a:schemeClr val="tx2"/>
                    </a:gs>
                  </a:gsLst>
                  <a:lin ang="5400000" scaled="0"/>
                </a:gradFill>
              </a:rPr>
              <a:t>Azure Active Directory free and premium offerings feature comparison </a:t>
            </a:r>
          </a:p>
        </p:txBody>
      </p:sp>
      <p:graphicFrame>
        <p:nvGraphicFramePr>
          <p:cNvPr id="87" name="Table 86"/>
          <p:cNvGraphicFramePr>
            <a:graphicFrameLocks noGrp="1"/>
          </p:cNvGraphicFramePr>
          <p:nvPr>
            <p:extLst/>
          </p:nvPr>
        </p:nvGraphicFramePr>
        <p:xfrm>
          <a:off x="697793" y="806873"/>
          <a:ext cx="9887976" cy="4986940"/>
        </p:xfrm>
        <a:graphic>
          <a:graphicData uri="http://schemas.openxmlformats.org/drawingml/2006/table">
            <a:tbl>
              <a:tblPr firstRow="1" bandRow="1">
                <a:tableStyleId>{5C22544A-7EE6-4342-B048-85BDC9FD1C3A}</a:tableStyleId>
              </a:tblPr>
              <a:tblGrid>
                <a:gridCol w="913150"/>
                <a:gridCol w="4979750"/>
                <a:gridCol w="1997538"/>
                <a:gridCol w="1997538"/>
              </a:tblGrid>
              <a:tr h="249347">
                <a:tc>
                  <a:txBody>
                    <a:bodyPr/>
                    <a:lstStyle/>
                    <a:p>
                      <a:endParaRPr lang="en-US" sz="1200" b="0" dirty="0">
                        <a:gradFill>
                          <a:gsLst>
                            <a:gs pos="0">
                              <a:schemeClr val="bg1"/>
                            </a:gs>
                            <a:gs pos="100000">
                              <a:schemeClr val="bg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endParaRPr lang="en-US" sz="1200" b="0" dirty="0">
                        <a:gradFill>
                          <a:gsLst>
                            <a:gs pos="0">
                              <a:schemeClr val="bg1"/>
                            </a:gs>
                            <a:gs pos="100000">
                              <a:schemeClr val="bg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smtClean="0">
                          <a:gradFill>
                            <a:gsLst>
                              <a:gs pos="0">
                                <a:schemeClr val="bg1"/>
                              </a:gs>
                              <a:gs pos="100000">
                                <a:schemeClr val="bg1"/>
                              </a:gs>
                            </a:gsLst>
                            <a:lin ang="5400000" scaled="1"/>
                          </a:gradFill>
                        </a:rPr>
                        <a:t>Azure AD Free </a:t>
                      </a:r>
                      <a:endParaRPr lang="en-US" sz="1200" b="1" dirty="0">
                        <a:gradFill>
                          <a:gsLst>
                            <a:gs pos="0">
                              <a:schemeClr val="bg1"/>
                            </a:gs>
                            <a:gs pos="100000">
                              <a:schemeClr val="bg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smtClean="0">
                          <a:gradFill>
                            <a:gsLst>
                              <a:gs pos="0">
                                <a:schemeClr val="bg1"/>
                              </a:gs>
                              <a:gs pos="100000">
                                <a:schemeClr val="bg1"/>
                              </a:gs>
                            </a:gsLst>
                            <a:lin ang="5400000" scaled="1"/>
                          </a:gradFill>
                        </a:rPr>
                        <a:t>Azure</a:t>
                      </a:r>
                      <a:r>
                        <a:rPr lang="en-US" sz="1200" b="1" baseline="0" dirty="0" smtClean="0">
                          <a:gradFill>
                            <a:gsLst>
                              <a:gs pos="0">
                                <a:schemeClr val="bg1"/>
                              </a:gs>
                              <a:gs pos="100000">
                                <a:schemeClr val="bg1"/>
                              </a:gs>
                            </a:gsLst>
                            <a:lin ang="5400000" scaled="1"/>
                          </a:gradFill>
                        </a:rPr>
                        <a:t> AD </a:t>
                      </a:r>
                      <a:r>
                        <a:rPr lang="en-US" sz="1200" b="1" dirty="0" smtClean="0">
                          <a:gradFill>
                            <a:gsLst>
                              <a:gs pos="0">
                                <a:schemeClr val="bg1"/>
                              </a:gs>
                              <a:gs pos="100000">
                                <a:schemeClr val="bg1"/>
                              </a:gs>
                            </a:gsLst>
                            <a:lin ang="5400000" scaled="1"/>
                          </a:gradFill>
                        </a:rPr>
                        <a:t>Premium</a:t>
                      </a:r>
                      <a:endParaRPr lang="en-US" sz="1200" b="1" dirty="0">
                        <a:gradFill>
                          <a:gsLst>
                            <a:gs pos="0">
                              <a:schemeClr val="bg1"/>
                            </a:gs>
                            <a:gs pos="100000">
                              <a:schemeClr val="bg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r>
              <a:tr h="249347">
                <a:tc rowSpan="8">
                  <a:txBody>
                    <a:bodyPr/>
                    <a:lstStyle/>
                    <a:p>
                      <a:r>
                        <a:rPr lang="en-US" sz="1200" b="0" dirty="0" smtClean="0">
                          <a:gradFill>
                            <a:gsLst>
                              <a:gs pos="0">
                                <a:schemeClr val="tx1"/>
                              </a:gs>
                              <a:gs pos="100000">
                                <a:schemeClr val="tx1"/>
                              </a:gs>
                            </a:gsLst>
                            <a:lin ang="5400000" scaled="1"/>
                          </a:gradFill>
                        </a:rPr>
                        <a:t>Common Featur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b="0" dirty="0" smtClean="0">
                          <a:gradFill>
                            <a:gsLst>
                              <a:gs pos="0">
                                <a:schemeClr val="tx1"/>
                              </a:gs>
                              <a:gs pos="100000">
                                <a:schemeClr val="tx1"/>
                              </a:gs>
                            </a:gsLst>
                            <a:lin ang="5400000" scaled="1"/>
                          </a:gradFill>
                        </a:rPr>
                        <a:t>Directory as</a:t>
                      </a:r>
                      <a:r>
                        <a:rPr lang="en-US" sz="1200" b="0" baseline="0" dirty="0" smtClean="0">
                          <a:gradFill>
                            <a:gsLst>
                              <a:gs pos="0">
                                <a:schemeClr val="tx1"/>
                              </a:gs>
                              <a:gs pos="100000">
                                <a:schemeClr val="tx1"/>
                              </a:gs>
                            </a:gsLst>
                            <a:lin ang="5400000" scaled="1"/>
                          </a:gradFill>
                        </a:rPr>
                        <a:t> a </a:t>
                      </a:r>
                      <a:r>
                        <a:rPr lang="en-US" sz="1200" b="0" dirty="0" smtClean="0">
                          <a:gradFill>
                            <a:gsLst>
                              <a:gs pos="0">
                                <a:schemeClr val="tx1"/>
                              </a:gs>
                              <a:gs pos="100000">
                                <a:schemeClr val="tx1"/>
                              </a:gs>
                            </a:gsLst>
                            <a:lin ang="5400000" scaled="1"/>
                          </a:gradFill>
                        </a:rPr>
                        <a:t> Service</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up to 500K Objects</a:t>
                      </a:r>
                      <a:endParaRPr lang="en-US" sz="1200" b="0" dirty="0">
                        <a:gradFill>
                          <a:gsLst>
                            <a:gs pos="0">
                              <a:schemeClr val="tx1"/>
                            </a:gs>
                            <a:gs pos="100000">
                              <a:schemeClr val="tx1"/>
                            </a:gs>
                          </a:gsLst>
                          <a:lin ang="5400000" scaled="1"/>
                        </a:gradFill>
                      </a:endParaRPr>
                    </a:p>
                  </a:txBody>
                  <a:tcPr marL="365708"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200" b="0" kern="1200" dirty="0" smtClean="0">
                          <a:gradFill>
                            <a:gsLst>
                              <a:gs pos="0">
                                <a:schemeClr val="tx1"/>
                              </a:gs>
                              <a:gs pos="100000">
                                <a:schemeClr val="tx1"/>
                              </a:gs>
                            </a:gsLst>
                            <a:lin ang="5400000" scaled="1"/>
                          </a:gradFill>
                          <a:latin typeface="+mn-lt"/>
                          <a:ea typeface="+mn-ea"/>
                          <a:cs typeface="+mn-cs"/>
                        </a:rPr>
                        <a:t>No Object Limit</a:t>
                      </a:r>
                    </a:p>
                  </a:txBody>
                  <a:tcPr marL="365708"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User/Group Management</a:t>
                      </a: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r>
              <a:tr h="249347">
                <a:tc vMerge="1">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SSO</a:t>
                      </a:r>
                      <a:r>
                        <a:rPr lang="en-US" sz="1200" b="0" baseline="0" dirty="0" smtClean="0">
                          <a:gradFill>
                            <a:gsLst>
                              <a:gs pos="0">
                                <a:schemeClr val="tx1"/>
                              </a:gs>
                              <a:gs pos="100000">
                                <a:schemeClr val="tx1"/>
                              </a:gs>
                            </a:gsLst>
                            <a:lin ang="5400000" scaled="1"/>
                          </a:gradFill>
                        </a:rPr>
                        <a:t> to pre-integrated SAAS Applications /Custom App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   10 apps per user</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No Limit</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200" b="0" dirty="0" smtClean="0">
                          <a:gradFill>
                            <a:gsLst>
                              <a:gs pos="0">
                                <a:schemeClr val="tx1"/>
                              </a:gs>
                              <a:gs pos="100000">
                                <a:schemeClr val="tx1"/>
                              </a:gs>
                            </a:gsLst>
                            <a:lin ang="5400000" scaled="1"/>
                          </a:gradFill>
                        </a:rPr>
                        <a:t>Identity </a:t>
                      </a:r>
                      <a:r>
                        <a:rPr lang="en-US" sz="1200" b="0" baseline="0" dirty="0" smtClean="0">
                          <a:gradFill>
                            <a:gsLst>
                              <a:gs pos="0">
                                <a:schemeClr val="tx1"/>
                              </a:gs>
                              <a:gs pos="100000">
                                <a:schemeClr val="tx1"/>
                              </a:gs>
                            </a:gsLst>
                            <a:lin ang="5400000" scaled="1"/>
                          </a:gradFill>
                        </a:rPr>
                        <a:t>Synchronization Tool</a:t>
                      </a:r>
                      <a:r>
                        <a:rPr lang="en-US" sz="1200" b="0" dirty="0" smtClean="0">
                          <a:gradFill>
                            <a:gsLst>
                              <a:gs pos="0">
                                <a:schemeClr val="tx1"/>
                              </a:gs>
                              <a:gs pos="100000">
                                <a:schemeClr val="tx1"/>
                              </a:gs>
                            </a:gsLst>
                            <a:lin ang="5400000" scaled="1"/>
                          </a:gradFill>
                        </a:rPr>
                        <a:t> (WSAD</a:t>
                      </a:r>
                      <a:r>
                        <a:rPr lang="en-US" sz="1200" b="0" baseline="0" dirty="0" smtClean="0">
                          <a:gradFill>
                            <a:gsLst>
                              <a:gs pos="0">
                                <a:schemeClr val="tx1"/>
                              </a:gs>
                              <a:gs pos="100000">
                                <a:schemeClr val="tx1"/>
                              </a:gs>
                            </a:gsLst>
                            <a:lin ang="5400000" scaled="1"/>
                          </a:gradFill>
                        </a:rPr>
                        <a:t> </a:t>
                      </a:r>
                      <a:r>
                        <a:rPr lang="en-US" sz="1200" b="0" baseline="0" dirty="0" err="1" smtClean="0">
                          <a:gradFill>
                            <a:gsLst>
                              <a:gs pos="0">
                                <a:schemeClr val="tx1"/>
                              </a:gs>
                              <a:gs pos="100000">
                                <a:schemeClr val="tx1"/>
                              </a:gs>
                            </a:gsLst>
                            <a:lin ang="5400000" scaled="1"/>
                          </a:gradFill>
                        </a:rPr>
                        <a:t>Extension,Multi</a:t>
                      </a:r>
                      <a:r>
                        <a:rPr lang="en-US" sz="1200" b="0" baseline="0" dirty="0" smtClean="0">
                          <a:gradFill>
                            <a:gsLst>
                              <a:gs pos="0">
                                <a:schemeClr val="tx1"/>
                              </a:gs>
                              <a:gs pos="100000">
                                <a:schemeClr val="tx1"/>
                              </a:gs>
                            </a:gsLst>
                            <a:lin ang="5400000" scaled="1"/>
                          </a:gradFill>
                        </a:rPr>
                        <a:t> Forest,3</a:t>
                      </a:r>
                      <a:r>
                        <a:rPr lang="en-US" sz="1200" b="0" baseline="30000" dirty="0" smtClean="0">
                          <a:gradFill>
                            <a:gsLst>
                              <a:gs pos="0">
                                <a:schemeClr val="tx1"/>
                              </a:gs>
                              <a:gs pos="100000">
                                <a:schemeClr val="tx1"/>
                              </a:gs>
                            </a:gsLst>
                            <a:lin ang="5400000" scaled="1"/>
                          </a:gradFill>
                        </a:rPr>
                        <a:t>rd</a:t>
                      </a:r>
                      <a:r>
                        <a:rPr lang="en-US" sz="1200" b="0" baseline="0" dirty="0" smtClean="0">
                          <a:gradFill>
                            <a:gsLst>
                              <a:gs pos="0">
                                <a:schemeClr val="tx1"/>
                              </a:gs>
                              <a:gs pos="100000">
                                <a:schemeClr val="tx1"/>
                              </a:gs>
                            </a:gsLst>
                            <a:lin ang="5400000" scaled="1"/>
                          </a:gradFill>
                        </a:rPr>
                        <a:t> party)*</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200" b="0" dirty="0" smtClean="0">
                          <a:gradFill>
                            <a:gsLst>
                              <a:gs pos="0">
                                <a:schemeClr val="tx1"/>
                              </a:gs>
                              <a:gs pos="100000">
                                <a:schemeClr val="tx1"/>
                              </a:gs>
                            </a:gsLst>
                            <a:lin ang="5400000" scaled="1"/>
                          </a:gradFill>
                        </a:rPr>
                        <a:t>User-Based access management/provisioning</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Self-Service </a:t>
                      </a:r>
                      <a:r>
                        <a:rPr lang="en-US" sz="1200" b="0" kern="1200" smtClean="0">
                          <a:gradFill>
                            <a:gsLst>
                              <a:gs pos="0">
                                <a:schemeClr val="tx1"/>
                              </a:gs>
                              <a:gs pos="100000">
                                <a:schemeClr val="tx1"/>
                              </a:gs>
                            </a:gsLst>
                            <a:lin ang="5400000" scaled="1"/>
                          </a:gradFill>
                          <a:latin typeface="+mn-lt"/>
                          <a:ea typeface="+mn-ea"/>
                          <a:cs typeface="+mn-cs"/>
                        </a:rPr>
                        <a:t>Password Change for </a:t>
                      </a:r>
                      <a:r>
                        <a:rPr lang="en-US" sz="1200" b="0" kern="1200" dirty="0" smtClean="0">
                          <a:gradFill>
                            <a:gsLst>
                              <a:gs pos="0">
                                <a:schemeClr val="tx1"/>
                              </a:gs>
                              <a:gs pos="100000">
                                <a:schemeClr val="tx1"/>
                              </a:gs>
                            </a:gsLst>
                            <a:lin ang="5400000" scaled="1"/>
                          </a:gradFill>
                          <a:latin typeface="+mn-lt"/>
                          <a:ea typeface="+mn-ea"/>
                          <a:cs typeface="+mn-cs"/>
                        </a:rPr>
                        <a:t>cloud user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Basic Security Report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Cloud App Discovery*</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Yes</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9347">
                <a:tc rowSpan="11">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Premium Featur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r>
                        <a:rPr lang="en-US" sz="1200" b="0" dirty="0" smtClean="0">
                          <a:gradFill>
                            <a:gsLst>
                              <a:gs pos="0">
                                <a:schemeClr val="tx1"/>
                              </a:gs>
                              <a:gs pos="100000">
                                <a:schemeClr val="tx1"/>
                              </a:gs>
                            </a:gsLst>
                            <a:lin ang="5400000" scaled="1"/>
                          </a:gradFill>
                        </a:rPr>
                        <a:t>Group-based access management/provisioning</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1200" b="0" dirty="0" smtClean="0">
                          <a:gradFill>
                            <a:gsLst>
                              <a:gs pos="0">
                                <a:schemeClr val="tx1"/>
                              </a:gs>
                              <a:gs pos="100000">
                                <a:schemeClr val="tx1"/>
                              </a:gs>
                            </a:gsLst>
                            <a:lin ang="5400000" scaled="1"/>
                          </a:gradFill>
                        </a:rPr>
                        <a:t>Self-Service Password Reset for cloud user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Self-Service Password Reset/Change with on-premises write-back*</a:t>
                      </a: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1200" b="0" dirty="0" smtClean="0">
                          <a:gradFill>
                            <a:gsLst>
                              <a:gs pos="0">
                                <a:schemeClr val="tx1"/>
                              </a:gs>
                              <a:gs pos="100000">
                                <a:schemeClr val="tx1"/>
                              </a:gs>
                            </a:gsLst>
                            <a:lin ang="5400000" scaled="1"/>
                          </a:gradFill>
                        </a:rPr>
                        <a:t>Company Branding (Logon Pages/Access Panel customization)</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0" dirty="0" smtClean="0">
                          <a:gradFill>
                            <a:gsLst>
                              <a:gs pos="0">
                                <a:schemeClr val="tx1"/>
                              </a:gs>
                              <a:gs pos="100000">
                                <a:schemeClr val="tx1"/>
                              </a:gs>
                            </a:gsLst>
                            <a:lin ang="5400000" scaled="1"/>
                          </a:gradFill>
                        </a:rPr>
                        <a:t>Identity </a:t>
                      </a:r>
                      <a:r>
                        <a:rPr lang="en-US" sz="1200" b="0" baseline="0" dirty="0" smtClean="0">
                          <a:gradFill>
                            <a:gsLst>
                              <a:gs pos="0">
                                <a:schemeClr val="tx1"/>
                              </a:gs>
                              <a:gs pos="100000">
                                <a:schemeClr val="tx1"/>
                              </a:gs>
                            </a:gsLst>
                            <a:lin ang="5400000" scaled="1"/>
                          </a:gradFill>
                        </a:rPr>
                        <a:t>Synchronization Tool</a:t>
                      </a:r>
                      <a:r>
                        <a:rPr lang="en-US" sz="1200" b="0" dirty="0" smtClean="0">
                          <a:gradFill>
                            <a:gsLst>
                              <a:gs pos="0">
                                <a:schemeClr val="tx1"/>
                              </a:gs>
                              <a:gs pos="100000">
                                <a:schemeClr val="tx1"/>
                              </a:gs>
                            </a:gsLst>
                            <a:lin ang="5400000" scaled="1"/>
                          </a:gradFill>
                        </a:rPr>
                        <a:t> advanced write-back capabilities *</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200" b="0" dirty="0" smtClean="0">
                          <a:gradFill>
                            <a:gsLst>
                              <a:gs pos="0">
                                <a:schemeClr val="tx1"/>
                              </a:gs>
                              <a:gs pos="100000">
                                <a:schemeClr val="tx1"/>
                              </a:gs>
                            </a:gsLst>
                            <a:lin ang="5400000" scaled="1"/>
                          </a:gradFill>
                        </a:rPr>
                        <a:t>Self-Service Group Management</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200" b="0" dirty="0" smtClean="0">
                          <a:gradFill>
                            <a:gsLst>
                              <a:gs pos="0">
                                <a:schemeClr val="tx1"/>
                              </a:gs>
                              <a:gs pos="100000">
                                <a:schemeClr val="tx1"/>
                              </a:gs>
                            </a:gsLst>
                            <a:lin ang="5400000" scaled="1"/>
                          </a:gradFill>
                        </a:rPr>
                        <a:t>Advanced Security Reporting (</a:t>
                      </a:r>
                      <a:r>
                        <a:rPr lang="en-US" sz="1200" b="0" baseline="0" dirty="0" smtClean="0">
                          <a:gradFill>
                            <a:gsLst>
                              <a:gs pos="0">
                                <a:schemeClr val="tx1"/>
                              </a:gs>
                              <a:gs pos="100000">
                                <a:schemeClr val="tx1"/>
                              </a:gs>
                            </a:gsLst>
                            <a:lin ang="5400000" scaled="1"/>
                          </a:gradFill>
                        </a:rPr>
                        <a:t>machine learning-based)</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200" b="0" dirty="0" smtClean="0">
                          <a:gradFill>
                            <a:gsLst>
                              <a:gs pos="0">
                                <a:schemeClr val="tx1"/>
                              </a:gs>
                              <a:gs pos="100000">
                                <a:schemeClr val="tx1"/>
                              </a:gs>
                            </a:gsLst>
                            <a:lin ang="5400000" scaled="1"/>
                          </a:gradFill>
                        </a:rPr>
                        <a:t>Advanced Usage Reporting</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200" b="0" dirty="0" smtClean="0">
                          <a:gradFill>
                            <a:gsLst>
                              <a:gs pos="0">
                                <a:schemeClr val="tx1"/>
                              </a:gs>
                              <a:gs pos="100000">
                                <a:schemeClr val="tx1"/>
                              </a:gs>
                            </a:gsLst>
                            <a:lin ang="5400000" scaled="1"/>
                          </a:gradFill>
                        </a:rPr>
                        <a:t>MFA Cloud and On-premises (MFA Server)</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pPr marL="0" algn="l" defTabSz="914400" rtl="0" eaLnBrk="1" latinLnBrk="0" hangingPunct="1"/>
                      <a:endParaRPr lang="en-US" sz="1200" b="0" kern="1200" dirty="0">
                        <a:gradFill>
                          <a:gsLst>
                            <a:gs pos="0">
                              <a:schemeClr val="tx1"/>
                            </a:gs>
                            <a:gs pos="100000">
                              <a:schemeClr val="tx1"/>
                            </a:gs>
                          </a:gsLst>
                          <a:lin ang="5400000" scaled="1"/>
                        </a:gradFill>
                        <a:latin typeface="+mn-lt"/>
                        <a:ea typeface="+mn-ea"/>
                        <a:cs typeface="+mn-cs"/>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l" defTabSz="914400" rtl="0" eaLnBrk="1" latinLnBrk="0" hangingPunct="1"/>
                      <a:r>
                        <a:rPr lang="en-US" sz="1200" b="0" kern="1200" dirty="0" smtClean="0">
                          <a:gradFill>
                            <a:gsLst>
                              <a:gs pos="0">
                                <a:schemeClr val="tx1"/>
                              </a:gs>
                              <a:gs pos="100000">
                                <a:schemeClr val="tx1"/>
                              </a:gs>
                            </a:gsLst>
                            <a:lin ang="5400000" scaled="1"/>
                          </a:gradFill>
                        </a:rPr>
                        <a:t>Identity Manager CAL + Identity Manager </a:t>
                      </a:r>
                      <a:r>
                        <a:rPr lang="en-US" sz="1200" b="0" kern="1200" baseline="0" dirty="0" smtClean="0">
                          <a:gradFill>
                            <a:gsLst>
                              <a:gs pos="0">
                                <a:schemeClr val="tx1"/>
                              </a:gs>
                              <a:gs pos="100000">
                                <a:schemeClr val="tx1"/>
                              </a:gs>
                            </a:gsLst>
                            <a:lin ang="5400000" scaled="1"/>
                          </a:gradFill>
                        </a:rPr>
                        <a:t>Server</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0F0"/>
                    </a:solidFill>
                  </a:tcPr>
                </a:tc>
              </a:tr>
              <a:tr h="249347">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marL="0" algn="l" defTabSz="914400" rtl="0" eaLnBrk="1" latinLnBrk="0" hangingPunct="1"/>
                      <a:r>
                        <a:rPr lang="en-US" sz="1200" b="0" kern="1200" dirty="0" smtClean="0">
                          <a:gradFill>
                            <a:gsLst>
                              <a:gs pos="0">
                                <a:schemeClr val="tx1"/>
                              </a:gs>
                              <a:gs pos="100000">
                                <a:schemeClr val="tx1"/>
                              </a:gs>
                            </a:gsLst>
                            <a:lin ang="5400000" scaled="1"/>
                          </a:gradFill>
                          <a:latin typeface="+mn-lt"/>
                          <a:ea typeface="+mn-ea"/>
                          <a:cs typeface="+mn-cs"/>
                        </a:rPr>
                        <a:t>SLA</a:t>
                      </a:r>
                      <a:endParaRPr lang="en-US" sz="1200" b="0" kern="1200" dirty="0">
                        <a:gradFill>
                          <a:gsLst>
                            <a:gs pos="0">
                              <a:schemeClr val="tx1"/>
                            </a:gs>
                            <a:gs pos="100000">
                              <a:schemeClr val="tx1"/>
                            </a:gs>
                          </a:gsLst>
                          <a:lin ang="5400000" scaled="1"/>
                        </a:gradFill>
                        <a:latin typeface="+mn-lt"/>
                        <a:ea typeface="+mn-ea"/>
                        <a:cs typeface="+mn-cs"/>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ct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gradFill>
                            <a:gsLst>
                              <a:gs pos="0">
                                <a:schemeClr val="tx1"/>
                              </a:gs>
                              <a:gs pos="100000">
                                <a:schemeClr val="tx1"/>
                              </a:gs>
                            </a:gsLst>
                            <a:lin ang="5400000" scaled="1"/>
                          </a:gradFill>
                        </a:rPr>
                        <a:t>Yes</a:t>
                      </a:r>
                      <a:endParaRPr lang="en-US" sz="1200" b="0" dirty="0">
                        <a:gradFill>
                          <a:gsLst>
                            <a:gs pos="0">
                              <a:schemeClr val="tx1"/>
                            </a:gs>
                            <a:gs pos="100000">
                              <a:schemeClr val="tx1"/>
                            </a:gs>
                          </a:gsLst>
                          <a:lin ang="5400000" scaled="1"/>
                        </a:gradFill>
                      </a:endParaRPr>
                    </a:p>
                  </a:txBody>
                  <a:tcPr marL="93234" marR="93234" marT="18285" marB="1828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bl>
          </a:graphicData>
        </a:graphic>
      </p:graphicFrame>
      <p:sp>
        <p:nvSpPr>
          <p:cNvPr id="2" name="TextBox 1"/>
          <p:cNvSpPr txBox="1"/>
          <p:nvPr/>
        </p:nvSpPr>
        <p:spPr>
          <a:xfrm>
            <a:off x="493578" y="6167499"/>
            <a:ext cx="7233843" cy="647165"/>
          </a:xfrm>
          <a:prstGeom prst="rect">
            <a:avLst/>
          </a:prstGeom>
          <a:noFill/>
        </p:spPr>
        <p:txBody>
          <a:bodyPr wrap="none" lIns="186521" tIns="149217" rIns="186521" bIns="149217" rtlCol="0">
            <a:spAutoFit/>
          </a:bodyPr>
          <a:lstStyle/>
          <a:p>
            <a:pPr defTabSz="932597">
              <a:lnSpc>
                <a:spcPct val="90000"/>
              </a:lnSpc>
              <a:spcAft>
                <a:spcPts val="612"/>
              </a:spcAft>
            </a:pPr>
            <a:r>
              <a:rPr lang="en-US" sz="2448" dirty="0">
                <a:gradFill>
                  <a:gsLst>
                    <a:gs pos="2917">
                      <a:srgbClr val="505050"/>
                    </a:gs>
                    <a:gs pos="30000">
                      <a:srgbClr val="505050"/>
                    </a:gs>
                  </a:gsLst>
                  <a:lin ang="5400000" scaled="0"/>
                </a:gradFill>
              </a:rPr>
              <a:t>* Features currently in Public Preview (May 2014)</a:t>
            </a:r>
          </a:p>
        </p:txBody>
      </p:sp>
    </p:spTree>
    <p:extLst>
      <p:ext uri="{BB962C8B-B14F-4D97-AF65-F5344CB8AC3E}">
        <p14:creationId xmlns:p14="http://schemas.microsoft.com/office/powerpoint/2010/main" val="401363109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gradFill>
                  <a:gsLst>
                    <a:gs pos="6195">
                      <a:schemeClr val="tx2"/>
                    </a:gs>
                    <a:gs pos="100000">
                      <a:schemeClr val="tx2"/>
                    </a:gs>
                  </a:gsLst>
                  <a:lin ang="5400000" scaled="0"/>
                </a:gradFill>
              </a:rPr>
              <a:t>Putting it all together</a:t>
            </a:r>
            <a:endParaRPr lang="en-US" sz="4000" dirty="0">
              <a:gradFill>
                <a:gsLst>
                  <a:gs pos="6195">
                    <a:schemeClr val="tx2"/>
                  </a:gs>
                  <a:gs pos="100000">
                    <a:schemeClr val="tx2"/>
                  </a:gs>
                </a:gsLst>
                <a:lin ang="5400000" scaled="0"/>
              </a:gradFill>
            </a:endParaRPr>
          </a:p>
        </p:txBody>
      </p:sp>
      <p:grpSp>
        <p:nvGrpSpPr>
          <p:cNvPr id="182" name="Group 181"/>
          <p:cNvGrpSpPr/>
          <p:nvPr/>
        </p:nvGrpSpPr>
        <p:grpSpPr>
          <a:xfrm>
            <a:off x="3042534" y="1778827"/>
            <a:ext cx="5298373" cy="2469969"/>
            <a:chOff x="3384901" y="1919409"/>
            <a:chExt cx="5298373" cy="2469969"/>
          </a:xfrm>
        </p:grpSpPr>
        <p:sp>
          <p:nvSpPr>
            <p:cNvPr id="70" name="Freeform 128"/>
            <p:cNvSpPr>
              <a:spLocks noChangeAspect="1"/>
            </p:cNvSpPr>
            <p:nvPr/>
          </p:nvSpPr>
          <p:spPr bwMode="black">
            <a:xfrm>
              <a:off x="44919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8" name="Freeform 128"/>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sp>
        <p:nvSpPr>
          <p:cNvPr id="190" name="Freeform 189"/>
          <p:cNvSpPr/>
          <p:nvPr/>
        </p:nvSpPr>
        <p:spPr bwMode="auto">
          <a:xfrm>
            <a:off x="2758373" y="3109163"/>
            <a:ext cx="2553933" cy="8539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175" name="Group 174"/>
          <p:cNvGrpSpPr/>
          <p:nvPr/>
        </p:nvGrpSpPr>
        <p:grpSpPr>
          <a:xfrm rot="900000">
            <a:off x="3056576" y="2686688"/>
            <a:ext cx="801928" cy="791897"/>
            <a:chOff x="3242937" y="2319398"/>
            <a:chExt cx="796924" cy="786956"/>
          </a:xfrm>
        </p:grpSpPr>
        <p:sp>
          <p:nvSpPr>
            <p:cNvPr id="174" name="Oval 173"/>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2"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3" name="Group 12"/>
          <p:cNvGrpSpPr/>
          <p:nvPr/>
        </p:nvGrpSpPr>
        <p:grpSpPr>
          <a:xfrm>
            <a:off x="4313651" y="5154619"/>
            <a:ext cx="2706624" cy="1543044"/>
            <a:chOff x="3063990" y="4892436"/>
            <a:chExt cx="2706624" cy="1543044"/>
          </a:xfrm>
        </p:grpSpPr>
        <p:sp>
          <p:nvSpPr>
            <p:cNvPr id="164" name="Rectangle 163"/>
            <p:cNvSpPr/>
            <p:nvPr/>
          </p:nvSpPr>
          <p:spPr bwMode="auto">
            <a:xfrm>
              <a:off x="3063990" y="4892436"/>
              <a:ext cx="2706624" cy="1543044"/>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8" name="TextBox 77"/>
            <p:cNvSpPr txBox="1"/>
            <p:nvPr/>
          </p:nvSpPr>
          <p:spPr>
            <a:xfrm>
              <a:off x="3366714" y="6154876"/>
              <a:ext cx="2106932" cy="193899"/>
            </a:xfrm>
            <a:prstGeom prst="rect">
              <a:avLst/>
            </a:prstGeom>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PCs and devices</a:t>
              </a:r>
            </a:p>
          </p:txBody>
        </p:sp>
        <p:sp>
          <p:nvSpPr>
            <p:cNvPr id="84" name="Freeform 27"/>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6" name="Freeform 27"/>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7" name="Freeform 27"/>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75" name="Picture 74"/>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108" name="Picture 10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222104" y="5466632"/>
              <a:ext cx="228600" cy="392115"/>
            </a:xfrm>
            <a:prstGeom prst="rect">
              <a:avLst/>
            </a:prstGeom>
          </p:spPr>
        </p:pic>
        <p:pic>
          <p:nvPicPr>
            <p:cNvPr id="110" name="Picture 109"/>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716019" y="5331840"/>
              <a:ext cx="402472" cy="605833"/>
            </a:xfrm>
            <a:prstGeom prst="rect">
              <a:avLst/>
            </a:prstGeom>
          </p:spPr>
        </p:pic>
        <p:sp>
          <p:nvSpPr>
            <p:cNvPr id="129"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79" name="Freeform 78"/>
          <p:cNvSpPr/>
          <p:nvPr/>
        </p:nvSpPr>
        <p:spPr bwMode="auto">
          <a:xfrm flipH="1">
            <a:off x="8905819" y="2284785"/>
            <a:ext cx="180975" cy="1715715"/>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80" name="Freeform 79"/>
          <p:cNvSpPr/>
          <p:nvPr/>
        </p:nvSpPr>
        <p:spPr bwMode="auto">
          <a:xfrm flipH="1" flipV="1">
            <a:off x="6320114" y="3240790"/>
            <a:ext cx="2468880" cy="65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85" name="Freeform 84"/>
          <p:cNvSpPr/>
          <p:nvPr/>
        </p:nvSpPr>
        <p:spPr bwMode="auto">
          <a:xfrm flipH="1" flipV="1">
            <a:off x="6096154" y="3065782"/>
            <a:ext cx="2743200" cy="10581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18" name="Group 17"/>
          <p:cNvGrpSpPr/>
          <p:nvPr/>
        </p:nvGrpSpPr>
        <p:grpSpPr>
          <a:xfrm>
            <a:off x="9095026" y="1281245"/>
            <a:ext cx="2778525" cy="3800176"/>
            <a:chOff x="9095026" y="1141545"/>
            <a:chExt cx="2778525" cy="3800176"/>
          </a:xfrm>
        </p:grpSpPr>
        <p:sp>
          <p:nvSpPr>
            <p:cNvPr id="126" name="Rectangle 125"/>
            <p:cNvSpPr/>
            <p:nvPr/>
          </p:nvSpPr>
          <p:spPr bwMode="auto">
            <a:xfrm>
              <a:off x="9095026" y="1141545"/>
              <a:ext cx="2778525" cy="1823211"/>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5" name="Freeform 128"/>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sp>
          <p:nvSpPr>
            <p:cNvPr id="127" name="Rectangle 126"/>
            <p:cNvSpPr/>
            <p:nvPr/>
          </p:nvSpPr>
          <p:spPr bwMode="auto">
            <a:xfrm>
              <a:off x="9095026" y="3062993"/>
              <a:ext cx="2778525" cy="187872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7" name="TextBox 66"/>
            <p:cNvSpPr txBox="1"/>
            <p:nvPr/>
          </p:nvSpPr>
          <p:spPr>
            <a:xfrm>
              <a:off x="9606056" y="2720319"/>
              <a:ext cx="1885342" cy="1938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Microsoft apps</a:t>
              </a:r>
            </a:p>
          </p:txBody>
        </p:sp>
        <p:sp>
          <p:nvSpPr>
            <p:cNvPr id="71" name="TextBox 70"/>
            <p:cNvSpPr txBox="1"/>
            <p:nvPr/>
          </p:nvSpPr>
          <p:spPr>
            <a:xfrm>
              <a:off x="9390366" y="4699638"/>
              <a:ext cx="2106932" cy="1938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Non-MS cloud-based apps</a:t>
              </a:r>
            </a:p>
          </p:txBody>
        </p:sp>
        <p:sp>
          <p:nvSpPr>
            <p:cNvPr id="76" name="Freeform 128"/>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sp>
          <p:nvSpPr>
            <p:cNvPr id="147" name="TextBox 146"/>
            <p:cNvSpPr txBox="1"/>
            <p:nvPr/>
          </p:nvSpPr>
          <p:spPr>
            <a:xfrm>
              <a:off x="9450055" y="4223198"/>
              <a:ext cx="1195386" cy="258532"/>
            </a:xfrm>
            <a:prstGeom prst="rect">
              <a:avLst/>
            </a:prstGeom>
            <a:noFill/>
          </p:spPr>
          <p:txBody>
            <a:bodyPr wrap="square" lIns="0" tIns="0" rIns="0" bIns="0" rtlCol="0">
              <a:spAutoFit/>
            </a:bodyPr>
            <a:lstStyle/>
            <a:p>
              <a:pPr algn="ctr" defTabSz="1243038">
                <a:lnSpc>
                  <a:spcPct val="80000"/>
                </a:lnSpc>
                <a:buSzPct val="80000"/>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54" name="Rectangle 53"/>
            <p:cNvSpPr/>
            <p:nvPr/>
          </p:nvSpPr>
          <p:spPr bwMode="auto">
            <a:xfrm>
              <a:off x="9601293"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1600" spc="-50" dirty="0" smtClean="0">
                <a:gradFill>
                  <a:gsLst>
                    <a:gs pos="1250">
                      <a:srgbClr val="EFEFEF"/>
                    </a:gs>
                    <a:gs pos="10417">
                      <a:srgbClr val="EFEFEF"/>
                    </a:gs>
                  </a:gsLst>
                  <a:lin ang="5400000" scaled="0"/>
                </a:gradFill>
              </a:endParaRPr>
            </a:p>
          </p:txBody>
        </p:sp>
        <p:grpSp>
          <p:nvGrpSpPr>
            <p:cNvPr id="17" name="Group 16"/>
            <p:cNvGrpSpPr/>
            <p:nvPr/>
          </p:nvGrpSpPr>
          <p:grpSpPr>
            <a:xfrm>
              <a:off x="9688017" y="1806886"/>
              <a:ext cx="1889705" cy="774530"/>
              <a:chOff x="9872235" y="1501354"/>
              <a:chExt cx="2631523" cy="1078578"/>
            </a:xfrm>
          </p:grpSpPr>
          <p:pic>
            <p:nvPicPr>
              <p:cNvPr id="14" name="Picture 13"/>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41425" y="1501354"/>
                <a:ext cx="2462333" cy="284679"/>
              </a:xfrm>
              <a:prstGeom prst="rect">
                <a:avLst/>
              </a:prstGeom>
            </p:spPr>
          </p:pic>
          <p:pic>
            <p:nvPicPr>
              <p:cNvPr id="15" name="Picture 14"/>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04285" y="1711122"/>
                <a:ext cx="1545751" cy="535444"/>
              </a:xfrm>
              <a:prstGeom prst="rect">
                <a:avLst/>
              </a:prstGeom>
            </p:spPr>
          </p:pic>
          <p:pic>
            <p:nvPicPr>
              <p:cNvPr id="16" name="Picture 15"/>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72235" y="2038806"/>
                <a:ext cx="2138523" cy="541126"/>
              </a:xfrm>
              <a:prstGeom prst="rect">
                <a:avLst/>
              </a:prstGeom>
            </p:spPr>
          </p:pic>
        </p:grpSp>
        <p:grpSp>
          <p:nvGrpSpPr>
            <p:cNvPr id="11" name="Group 10"/>
            <p:cNvGrpSpPr/>
            <p:nvPr/>
          </p:nvGrpSpPr>
          <p:grpSpPr>
            <a:xfrm>
              <a:off x="9666829" y="3928967"/>
              <a:ext cx="717510" cy="308948"/>
              <a:chOff x="3096005" y="909698"/>
              <a:chExt cx="6564589" cy="2826597"/>
            </a:xfrm>
          </p:grpSpPr>
          <p:pic>
            <p:nvPicPr>
              <p:cNvPr id="23" name="Picture 22"/>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096005" y="975535"/>
                <a:ext cx="3972212" cy="1212861"/>
              </a:xfrm>
              <a:prstGeom prst="rect">
                <a:avLst/>
              </a:prstGeom>
            </p:spPr>
          </p:pic>
          <p:pic>
            <p:nvPicPr>
              <p:cNvPr id="61" name="Picture 6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096005" y="2181010"/>
                <a:ext cx="3972212" cy="1235323"/>
              </a:xfrm>
              <a:prstGeom prst="rect">
                <a:avLst/>
              </a:prstGeom>
            </p:spPr>
          </p:pic>
          <p:pic>
            <p:nvPicPr>
              <p:cNvPr id="63" name="Picture 62"/>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068217" y="909698"/>
                <a:ext cx="2592377" cy="2826597"/>
              </a:xfrm>
              <a:prstGeom prst="rect">
                <a:avLst/>
              </a:prstGeom>
            </p:spPr>
          </p:pic>
          <p:sp>
            <p:nvSpPr>
              <p:cNvPr id="10" name="Rectangle 9"/>
              <p:cNvSpPr/>
              <p:nvPr/>
            </p:nvSpPr>
            <p:spPr bwMode="auto">
              <a:xfrm>
                <a:off x="7564694" y="1703145"/>
                <a:ext cx="2041371" cy="1677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 name="Freeform 5"/>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72" name="TextBox 71"/>
            <p:cNvSpPr txBox="1"/>
            <p:nvPr/>
          </p:nvSpPr>
          <p:spPr>
            <a:xfrm>
              <a:off x="10350422" y="4223198"/>
              <a:ext cx="1195386" cy="258532"/>
            </a:xfrm>
            <a:prstGeom prst="rect">
              <a:avLst/>
            </a:prstGeom>
            <a:noFill/>
          </p:spPr>
          <p:txBody>
            <a:bodyPr wrap="square" lIns="0" tIns="0" rIns="0" bIns="0" rtlCol="0">
              <a:spAutoFit/>
            </a:bodyPr>
            <a:lstStyle/>
            <a:p>
              <a:pPr algn="ctr" defTabSz="1243038">
                <a:lnSpc>
                  <a:spcPct val="80000"/>
                </a:lnSpc>
                <a:buSzPct val="80000"/>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73" name="Rectangle 72"/>
            <p:cNvSpPr/>
            <p:nvPr/>
          </p:nvSpPr>
          <p:spPr bwMode="auto">
            <a:xfrm>
              <a:off x="10501660"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1600" spc="-50" dirty="0" smtClean="0">
                <a:gradFill>
                  <a:gsLst>
                    <a:gs pos="1250">
                      <a:srgbClr val="EFEFEF"/>
                    </a:gs>
                    <a:gs pos="10417">
                      <a:srgbClr val="EFEFEF"/>
                    </a:gs>
                  </a:gsLst>
                  <a:lin ang="5400000" scaled="0"/>
                </a:gradFill>
              </a:endParaRPr>
            </a:p>
          </p:txBody>
        </p:sp>
        <p:grpSp>
          <p:nvGrpSpPr>
            <p:cNvPr id="74" name="Group 73"/>
            <p:cNvGrpSpPr/>
            <p:nvPr/>
          </p:nvGrpSpPr>
          <p:grpSpPr>
            <a:xfrm>
              <a:off x="10567196" y="3913360"/>
              <a:ext cx="712748" cy="299972"/>
              <a:chOff x="3096005" y="766908"/>
              <a:chExt cx="6521021" cy="2744475"/>
            </a:xfrm>
          </p:grpSpPr>
          <p:pic>
            <p:nvPicPr>
              <p:cNvPr id="77" name="Picture 76"/>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096005" y="975535"/>
                <a:ext cx="3972212" cy="1212861"/>
              </a:xfrm>
              <a:prstGeom prst="rect">
                <a:avLst/>
              </a:prstGeom>
            </p:spPr>
          </p:pic>
          <p:pic>
            <p:nvPicPr>
              <p:cNvPr id="88" name="Picture 87"/>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096005" y="2181010"/>
                <a:ext cx="3972212" cy="1235323"/>
              </a:xfrm>
              <a:prstGeom prst="rect">
                <a:avLst/>
              </a:prstGeom>
            </p:spPr>
          </p:pic>
          <p:pic>
            <p:nvPicPr>
              <p:cNvPr id="96" name="Picture 95"/>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7099964" y="766908"/>
                <a:ext cx="2517062" cy="2744475"/>
              </a:xfrm>
              <a:prstGeom prst="rect">
                <a:avLst/>
              </a:prstGeom>
            </p:spPr>
          </p:pic>
          <p:sp>
            <p:nvSpPr>
              <p:cNvPr id="97" name="Rectangle 96"/>
              <p:cNvSpPr/>
              <p:nvPr/>
            </p:nvSpPr>
            <p:spPr bwMode="auto">
              <a:xfrm>
                <a:off x="7572142" y="1488626"/>
                <a:ext cx="1747483" cy="167165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8" name="Freeform 5"/>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5" name="Group 4"/>
          <p:cNvGrpSpPr/>
          <p:nvPr/>
        </p:nvGrpSpPr>
        <p:grpSpPr>
          <a:xfrm>
            <a:off x="4872551" y="2534458"/>
            <a:ext cx="1742644" cy="1638834"/>
            <a:chOff x="4872551" y="2534458"/>
            <a:chExt cx="1742644" cy="1638834"/>
          </a:xfrm>
        </p:grpSpPr>
        <p:sp>
          <p:nvSpPr>
            <p:cNvPr id="58" name="Rectangle 57"/>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600" dirty="0" smtClean="0">
                  <a:ln>
                    <a:solidFill>
                      <a:srgbClr val="FFFFFF">
                        <a:alpha val="0"/>
                      </a:srgbClr>
                    </a:solidFill>
                  </a:ln>
                  <a:solidFill>
                    <a:srgbClr val="00188F"/>
                  </a:solidFill>
                  <a:latin typeface="Segoe"/>
                </a:rPr>
                <a:t>Active Directory</a:t>
              </a:r>
              <a:endParaRPr lang="en-US" sz="1600" dirty="0">
                <a:ln>
                  <a:solidFill>
                    <a:srgbClr val="FFFFFF">
                      <a:alpha val="0"/>
                    </a:srgbClr>
                  </a:solidFill>
                </a:ln>
                <a:solidFill>
                  <a:srgbClr val="00188F"/>
                </a:solidFill>
                <a:latin typeface="Segoe"/>
              </a:endParaRPr>
            </a:p>
          </p:txBody>
        </p:sp>
        <p:grpSp>
          <p:nvGrpSpPr>
            <p:cNvPr id="4" name="Group 3"/>
            <p:cNvGrpSpPr/>
            <p:nvPr/>
          </p:nvGrpSpPr>
          <p:grpSpPr>
            <a:xfrm>
              <a:off x="5085223" y="2534458"/>
              <a:ext cx="1350118" cy="1163895"/>
              <a:chOff x="5148777" y="2688135"/>
              <a:chExt cx="1350118" cy="1163895"/>
            </a:xfrm>
          </p:grpSpPr>
          <p:sp>
            <p:nvSpPr>
              <p:cNvPr id="3" name="Isosceles Triangle 2"/>
              <p:cNvSpPr/>
              <p:nvPr/>
            </p:nvSpPr>
            <p:spPr bwMode="auto">
              <a:xfrm>
                <a:off x="5148777" y="2688135"/>
                <a:ext cx="1350118" cy="1163895"/>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94" name="Picture 93" descr="Windows Azure Active Directory"/>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82" name="Freeform 5"/>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7" name="Freeform 6"/>
          <p:cNvSpPr/>
          <p:nvPr/>
        </p:nvSpPr>
        <p:spPr bwMode="auto">
          <a:xfrm>
            <a:off x="5678488" y="4324350"/>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29" name="Group 28"/>
          <p:cNvGrpSpPr/>
          <p:nvPr/>
        </p:nvGrpSpPr>
        <p:grpSpPr>
          <a:xfrm>
            <a:off x="261347" y="3247410"/>
            <a:ext cx="2444879" cy="1621453"/>
            <a:chOff x="261347" y="3247410"/>
            <a:chExt cx="2444879" cy="1621453"/>
          </a:xfrm>
        </p:grpSpPr>
        <p:sp>
          <p:nvSpPr>
            <p:cNvPr id="69" name="Rectangle 68"/>
            <p:cNvSpPr/>
            <p:nvPr/>
          </p:nvSpPr>
          <p:spPr bwMode="auto">
            <a:xfrm>
              <a:off x="261347" y="3247410"/>
              <a:ext cx="2444879" cy="1621453"/>
            </a:xfrm>
            <a:prstGeom prst="rect">
              <a:avLst/>
            </a:prstGeom>
            <a:solidFill>
              <a:schemeClr val="bg1"/>
            </a:solid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Other Directories</a:t>
              </a:r>
            </a:p>
          </p:txBody>
        </p:sp>
        <p:grpSp>
          <p:nvGrpSpPr>
            <p:cNvPr id="28" name="Group 27"/>
            <p:cNvGrpSpPr/>
            <p:nvPr/>
          </p:nvGrpSpPr>
          <p:grpSpPr>
            <a:xfrm>
              <a:off x="1166311" y="3515638"/>
              <a:ext cx="634951" cy="890676"/>
              <a:chOff x="2290073" y="5400845"/>
              <a:chExt cx="693737" cy="973138"/>
            </a:xfrm>
          </p:grpSpPr>
          <p:sp>
            <p:nvSpPr>
              <p:cNvPr id="22" name="Freeform 5"/>
              <p:cNvSpPr>
                <a:spLocks noEditPoints="1"/>
              </p:cNvSpPr>
              <p:nvPr/>
            </p:nvSpPr>
            <p:spPr bwMode="auto">
              <a:xfrm>
                <a:off x="2290073" y="5400845"/>
                <a:ext cx="693737" cy="973138"/>
              </a:xfrm>
              <a:custGeom>
                <a:avLst/>
                <a:gdLst>
                  <a:gd name="T0" fmla="*/ 1608 w 1608"/>
                  <a:gd name="T1" fmla="*/ 121 h 2259"/>
                  <a:gd name="T2" fmla="*/ 1176 w 1608"/>
                  <a:gd name="T3" fmla="*/ 243 h 2259"/>
                  <a:gd name="T4" fmla="*/ 1176 w 1608"/>
                  <a:gd name="T5" fmla="*/ 0 h 2259"/>
                  <a:gd name="T6" fmla="*/ 0 w 1608"/>
                  <a:gd name="T7" fmla="*/ 341 h 2259"/>
                  <a:gd name="T8" fmla="*/ 0 w 1608"/>
                  <a:gd name="T9" fmla="*/ 2143 h 2259"/>
                  <a:gd name="T10" fmla="*/ 427 w 1608"/>
                  <a:gd name="T11" fmla="*/ 2259 h 2259"/>
                  <a:gd name="T12" fmla="*/ 427 w 1608"/>
                  <a:gd name="T13" fmla="*/ 462 h 2259"/>
                  <a:gd name="T14" fmla="*/ 506 w 1608"/>
                  <a:gd name="T15" fmla="*/ 438 h 2259"/>
                  <a:gd name="T16" fmla="*/ 506 w 1608"/>
                  <a:gd name="T17" fmla="*/ 2241 h 2259"/>
                  <a:gd name="T18" fmla="*/ 1608 w 1608"/>
                  <a:gd name="T19" fmla="*/ 1924 h 2259"/>
                  <a:gd name="T20" fmla="*/ 1608 w 1608"/>
                  <a:gd name="T21" fmla="*/ 121 h 2259"/>
                  <a:gd name="T22" fmla="*/ 1608 w 1608"/>
                  <a:gd name="T23" fmla="*/ 121 h 2259"/>
                  <a:gd name="T24" fmla="*/ 213 w 1608"/>
                  <a:gd name="T25" fmla="*/ 2015 h 2259"/>
                  <a:gd name="T26" fmla="*/ 134 w 1608"/>
                  <a:gd name="T27" fmla="*/ 1887 h 2259"/>
                  <a:gd name="T28" fmla="*/ 213 w 1608"/>
                  <a:gd name="T29" fmla="*/ 1802 h 2259"/>
                  <a:gd name="T30" fmla="*/ 293 w 1608"/>
                  <a:gd name="T31" fmla="*/ 1930 h 2259"/>
                  <a:gd name="T32" fmla="*/ 213 w 1608"/>
                  <a:gd name="T33" fmla="*/ 2015 h 2259"/>
                  <a:gd name="T34" fmla="*/ 287 w 1608"/>
                  <a:gd name="T35" fmla="*/ 1619 h 2259"/>
                  <a:gd name="T36" fmla="*/ 140 w 1608"/>
                  <a:gd name="T37" fmla="*/ 1577 h 2259"/>
                  <a:gd name="T38" fmla="*/ 140 w 1608"/>
                  <a:gd name="T39" fmla="*/ 584 h 2259"/>
                  <a:gd name="T40" fmla="*/ 287 w 1608"/>
                  <a:gd name="T41" fmla="*/ 627 h 2259"/>
                  <a:gd name="T42" fmla="*/ 287 w 1608"/>
                  <a:gd name="T43" fmla="*/ 1619 h 2259"/>
                  <a:gd name="T44" fmla="*/ 287 w 1608"/>
                  <a:gd name="T45" fmla="*/ 1619 h 2259"/>
                  <a:gd name="T46" fmla="*/ 1298 w 1608"/>
                  <a:gd name="T47" fmla="*/ 956 h 2259"/>
                  <a:gd name="T48" fmla="*/ 853 w 1608"/>
                  <a:gd name="T49" fmla="*/ 1090 h 2259"/>
                  <a:gd name="T50" fmla="*/ 853 w 1608"/>
                  <a:gd name="T51" fmla="*/ 803 h 2259"/>
                  <a:gd name="T52" fmla="*/ 1298 w 1608"/>
                  <a:gd name="T53" fmla="*/ 676 h 2259"/>
                  <a:gd name="T54" fmla="*/ 1298 w 1608"/>
                  <a:gd name="T55" fmla="*/ 956 h 2259"/>
                  <a:gd name="T56" fmla="*/ 1298 w 1608"/>
                  <a:gd name="T57" fmla="*/ 956 h 2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8" h="2259">
                    <a:moveTo>
                      <a:pt x="1608" y="121"/>
                    </a:moveTo>
                    <a:cubicBezTo>
                      <a:pt x="1176" y="243"/>
                      <a:pt x="1176" y="243"/>
                      <a:pt x="1176" y="243"/>
                    </a:cubicBezTo>
                    <a:cubicBezTo>
                      <a:pt x="1176" y="0"/>
                      <a:pt x="1176" y="0"/>
                      <a:pt x="1176" y="0"/>
                    </a:cubicBezTo>
                    <a:cubicBezTo>
                      <a:pt x="0" y="341"/>
                      <a:pt x="0" y="341"/>
                      <a:pt x="0" y="341"/>
                    </a:cubicBezTo>
                    <a:cubicBezTo>
                      <a:pt x="0" y="2143"/>
                      <a:pt x="0" y="2143"/>
                      <a:pt x="0" y="2143"/>
                    </a:cubicBezTo>
                    <a:cubicBezTo>
                      <a:pt x="427" y="2259"/>
                      <a:pt x="427" y="2259"/>
                      <a:pt x="427" y="2259"/>
                    </a:cubicBezTo>
                    <a:cubicBezTo>
                      <a:pt x="427" y="462"/>
                      <a:pt x="427" y="462"/>
                      <a:pt x="427" y="462"/>
                    </a:cubicBezTo>
                    <a:cubicBezTo>
                      <a:pt x="506" y="438"/>
                      <a:pt x="506" y="438"/>
                      <a:pt x="506" y="438"/>
                    </a:cubicBezTo>
                    <a:cubicBezTo>
                      <a:pt x="506" y="2241"/>
                      <a:pt x="506" y="2241"/>
                      <a:pt x="506" y="2241"/>
                    </a:cubicBezTo>
                    <a:cubicBezTo>
                      <a:pt x="1608" y="1924"/>
                      <a:pt x="1608" y="1924"/>
                      <a:pt x="1608" y="1924"/>
                    </a:cubicBezTo>
                    <a:cubicBezTo>
                      <a:pt x="1608" y="121"/>
                      <a:pt x="1608" y="121"/>
                      <a:pt x="1608" y="121"/>
                    </a:cubicBezTo>
                    <a:cubicBezTo>
                      <a:pt x="1608" y="121"/>
                      <a:pt x="1608" y="121"/>
                      <a:pt x="1608" y="121"/>
                    </a:cubicBezTo>
                    <a:close/>
                    <a:moveTo>
                      <a:pt x="213" y="2015"/>
                    </a:moveTo>
                    <a:cubicBezTo>
                      <a:pt x="171" y="2003"/>
                      <a:pt x="134" y="1948"/>
                      <a:pt x="134" y="1887"/>
                    </a:cubicBezTo>
                    <a:cubicBezTo>
                      <a:pt x="134" y="1827"/>
                      <a:pt x="171" y="1790"/>
                      <a:pt x="213" y="1802"/>
                    </a:cubicBezTo>
                    <a:cubicBezTo>
                      <a:pt x="256" y="1814"/>
                      <a:pt x="293" y="1869"/>
                      <a:pt x="293" y="1930"/>
                    </a:cubicBezTo>
                    <a:cubicBezTo>
                      <a:pt x="293" y="1991"/>
                      <a:pt x="256" y="2027"/>
                      <a:pt x="213" y="2015"/>
                    </a:cubicBezTo>
                    <a:close/>
                    <a:moveTo>
                      <a:pt x="287" y="1619"/>
                    </a:moveTo>
                    <a:cubicBezTo>
                      <a:pt x="140" y="1577"/>
                      <a:pt x="140" y="1577"/>
                      <a:pt x="140" y="1577"/>
                    </a:cubicBezTo>
                    <a:cubicBezTo>
                      <a:pt x="140" y="584"/>
                      <a:pt x="140" y="584"/>
                      <a:pt x="140" y="584"/>
                    </a:cubicBezTo>
                    <a:cubicBezTo>
                      <a:pt x="287" y="627"/>
                      <a:pt x="287" y="627"/>
                      <a:pt x="287" y="627"/>
                    </a:cubicBezTo>
                    <a:cubicBezTo>
                      <a:pt x="287" y="1619"/>
                      <a:pt x="287" y="1619"/>
                      <a:pt x="287" y="1619"/>
                    </a:cubicBezTo>
                    <a:cubicBezTo>
                      <a:pt x="287" y="1619"/>
                      <a:pt x="287" y="1619"/>
                      <a:pt x="287" y="1619"/>
                    </a:cubicBezTo>
                    <a:close/>
                    <a:moveTo>
                      <a:pt x="1298" y="956"/>
                    </a:moveTo>
                    <a:cubicBezTo>
                      <a:pt x="853" y="1090"/>
                      <a:pt x="853" y="1090"/>
                      <a:pt x="853" y="1090"/>
                    </a:cubicBezTo>
                    <a:cubicBezTo>
                      <a:pt x="853" y="803"/>
                      <a:pt x="853" y="803"/>
                      <a:pt x="853" y="803"/>
                    </a:cubicBezTo>
                    <a:cubicBezTo>
                      <a:pt x="1298" y="676"/>
                      <a:pt x="1298" y="676"/>
                      <a:pt x="1298" y="676"/>
                    </a:cubicBezTo>
                    <a:cubicBezTo>
                      <a:pt x="1298" y="956"/>
                      <a:pt x="1298" y="956"/>
                      <a:pt x="1298" y="956"/>
                    </a:cubicBezTo>
                    <a:cubicBezTo>
                      <a:pt x="1298" y="956"/>
                      <a:pt x="1298" y="956"/>
                      <a:pt x="1298" y="9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26"/>
              <p:cNvSpPr/>
              <p:nvPr/>
            </p:nvSpPr>
            <p:spPr bwMode="auto">
              <a:xfrm>
                <a:off x="2327275" y="5435601"/>
                <a:ext cx="590550" cy="171450"/>
              </a:xfrm>
              <a:custGeom>
                <a:avLst/>
                <a:gdLst>
                  <a:gd name="connsiteX0" fmla="*/ 676275 w 676275"/>
                  <a:gd name="connsiteY0" fmla="*/ 44450 h 190500"/>
                  <a:gd name="connsiteX1" fmla="*/ 504825 w 676275"/>
                  <a:gd name="connsiteY1" fmla="*/ 0 h 190500"/>
                  <a:gd name="connsiteX2" fmla="*/ 0 w 676275"/>
                  <a:gd name="connsiteY2" fmla="*/ 136525 h 190500"/>
                  <a:gd name="connsiteX3" fmla="*/ 184150 w 676275"/>
                  <a:gd name="connsiteY3" fmla="*/ 190500 h 190500"/>
                  <a:gd name="connsiteX4" fmla="*/ 676275 w 676275"/>
                  <a:gd name="connsiteY4" fmla="*/ 44450 h 190500"/>
                  <a:gd name="connsiteX0" fmla="*/ 676275 w 676275"/>
                  <a:gd name="connsiteY0" fmla="*/ 44450 h 212725"/>
                  <a:gd name="connsiteX1" fmla="*/ 504825 w 676275"/>
                  <a:gd name="connsiteY1" fmla="*/ 0 h 212725"/>
                  <a:gd name="connsiteX2" fmla="*/ 0 w 676275"/>
                  <a:gd name="connsiteY2" fmla="*/ 136525 h 212725"/>
                  <a:gd name="connsiteX3" fmla="*/ 209550 w 676275"/>
                  <a:gd name="connsiteY3" fmla="*/ 212725 h 212725"/>
                  <a:gd name="connsiteX4" fmla="*/ 676275 w 676275"/>
                  <a:gd name="connsiteY4" fmla="*/ 44450 h 212725"/>
                  <a:gd name="connsiteX0" fmla="*/ 641350 w 641350"/>
                  <a:gd name="connsiteY0" fmla="*/ 57150 h 212725"/>
                  <a:gd name="connsiteX1" fmla="*/ 504825 w 641350"/>
                  <a:gd name="connsiteY1" fmla="*/ 0 h 212725"/>
                  <a:gd name="connsiteX2" fmla="*/ 0 w 641350"/>
                  <a:gd name="connsiteY2" fmla="*/ 136525 h 212725"/>
                  <a:gd name="connsiteX3" fmla="*/ 209550 w 641350"/>
                  <a:gd name="connsiteY3" fmla="*/ 212725 h 212725"/>
                  <a:gd name="connsiteX4" fmla="*/ 641350 w 641350"/>
                  <a:gd name="connsiteY4" fmla="*/ 57150 h 212725"/>
                  <a:gd name="connsiteX0" fmla="*/ 666750 w 666750"/>
                  <a:gd name="connsiteY0" fmla="*/ 44450 h 212725"/>
                  <a:gd name="connsiteX1" fmla="*/ 504825 w 666750"/>
                  <a:gd name="connsiteY1" fmla="*/ 0 h 212725"/>
                  <a:gd name="connsiteX2" fmla="*/ 0 w 666750"/>
                  <a:gd name="connsiteY2" fmla="*/ 136525 h 212725"/>
                  <a:gd name="connsiteX3" fmla="*/ 209550 w 666750"/>
                  <a:gd name="connsiteY3" fmla="*/ 212725 h 212725"/>
                  <a:gd name="connsiteX4" fmla="*/ 666750 w 666750"/>
                  <a:gd name="connsiteY4" fmla="*/ 44450 h 212725"/>
                  <a:gd name="connsiteX0" fmla="*/ 666750 w 666750"/>
                  <a:gd name="connsiteY0" fmla="*/ 44450 h 200025"/>
                  <a:gd name="connsiteX1" fmla="*/ 504825 w 666750"/>
                  <a:gd name="connsiteY1" fmla="*/ 0 h 200025"/>
                  <a:gd name="connsiteX2" fmla="*/ 0 w 666750"/>
                  <a:gd name="connsiteY2" fmla="*/ 136525 h 200025"/>
                  <a:gd name="connsiteX3" fmla="*/ 209550 w 666750"/>
                  <a:gd name="connsiteY3" fmla="*/ 200025 h 200025"/>
                  <a:gd name="connsiteX4" fmla="*/ 666750 w 666750"/>
                  <a:gd name="connsiteY4" fmla="*/ 44450 h 200025"/>
                  <a:gd name="connsiteX0" fmla="*/ 666750 w 666750"/>
                  <a:gd name="connsiteY0" fmla="*/ 44450 h 168275"/>
                  <a:gd name="connsiteX1" fmla="*/ 504825 w 666750"/>
                  <a:gd name="connsiteY1" fmla="*/ 0 h 168275"/>
                  <a:gd name="connsiteX2" fmla="*/ 0 w 666750"/>
                  <a:gd name="connsiteY2" fmla="*/ 136525 h 168275"/>
                  <a:gd name="connsiteX3" fmla="*/ 222250 w 666750"/>
                  <a:gd name="connsiteY3" fmla="*/ 168275 h 168275"/>
                  <a:gd name="connsiteX4" fmla="*/ 666750 w 666750"/>
                  <a:gd name="connsiteY4" fmla="*/ 44450 h 168275"/>
                  <a:gd name="connsiteX0" fmla="*/ 666750 w 666750"/>
                  <a:gd name="connsiteY0" fmla="*/ 44450 h 177800"/>
                  <a:gd name="connsiteX1" fmla="*/ 504825 w 666750"/>
                  <a:gd name="connsiteY1" fmla="*/ 0 h 177800"/>
                  <a:gd name="connsiteX2" fmla="*/ 0 w 666750"/>
                  <a:gd name="connsiteY2" fmla="*/ 136525 h 177800"/>
                  <a:gd name="connsiteX3" fmla="*/ 196850 w 666750"/>
                  <a:gd name="connsiteY3" fmla="*/ 177800 h 177800"/>
                  <a:gd name="connsiteX4" fmla="*/ 666750 w 666750"/>
                  <a:gd name="connsiteY4" fmla="*/ 44450 h 177800"/>
                  <a:gd name="connsiteX0" fmla="*/ 666750 w 666750"/>
                  <a:gd name="connsiteY0" fmla="*/ 44450 h 136525"/>
                  <a:gd name="connsiteX1" fmla="*/ 504825 w 666750"/>
                  <a:gd name="connsiteY1" fmla="*/ 0 h 136525"/>
                  <a:gd name="connsiteX2" fmla="*/ 0 w 666750"/>
                  <a:gd name="connsiteY2" fmla="*/ 136525 h 136525"/>
                  <a:gd name="connsiteX3" fmla="*/ 174625 w 666750"/>
                  <a:gd name="connsiteY3" fmla="*/ 123825 h 136525"/>
                  <a:gd name="connsiteX4" fmla="*/ 666750 w 666750"/>
                  <a:gd name="connsiteY4" fmla="*/ 44450 h 136525"/>
                  <a:gd name="connsiteX0" fmla="*/ 666750 w 666750"/>
                  <a:gd name="connsiteY0" fmla="*/ 44450 h 180975"/>
                  <a:gd name="connsiteX1" fmla="*/ 504825 w 666750"/>
                  <a:gd name="connsiteY1" fmla="*/ 0 h 180975"/>
                  <a:gd name="connsiteX2" fmla="*/ 0 w 666750"/>
                  <a:gd name="connsiteY2" fmla="*/ 136525 h 180975"/>
                  <a:gd name="connsiteX3" fmla="*/ 177800 w 666750"/>
                  <a:gd name="connsiteY3" fmla="*/ 180975 h 180975"/>
                  <a:gd name="connsiteX4" fmla="*/ 666750 w 666750"/>
                  <a:gd name="connsiteY4" fmla="*/ 44450 h 180975"/>
                  <a:gd name="connsiteX0" fmla="*/ 654050 w 654050"/>
                  <a:gd name="connsiteY0" fmla="*/ 41275 h 180975"/>
                  <a:gd name="connsiteX1" fmla="*/ 504825 w 654050"/>
                  <a:gd name="connsiteY1" fmla="*/ 0 h 180975"/>
                  <a:gd name="connsiteX2" fmla="*/ 0 w 654050"/>
                  <a:gd name="connsiteY2" fmla="*/ 136525 h 180975"/>
                  <a:gd name="connsiteX3" fmla="*/ 177800 w 654050"/>
                  <a:gd name="connsiteY3" fmla="*/ 180975 h 180975"/>
                  <a:gd name="connsiteX4" fmla="*/ 654050 w 654050"/>
                  <a:gd name="connsiteY4" fmla="*/ 41275 h 180975"/>
                  <a:gd name="connsiteX0" fmla="*/ 654050 w 654050"/>
                  <a:gd name="connsiteY0" fmla="*/ 41275 h 180975"/>
                  <a:gd name="connsiteX1" fmla="*/ 504825 w 654050"/>
                  <a:gd name="connsiteY1" fmla="*/ 0 h 180975"/>
                  <a:gd name="connsiteX2" fmla="*/ 0 w 654050"/>
                  <a:gd name="connsiteY2" fmla="*/ 152400 h 180975"/>
                  <a:gd name="connsiteX3" fmla="*/ 177800 w 654050"/>
                  <a:gd name="connsiteY3" fmla="*/ 180975 h 180975"/>
                  <a:gd name="connsiteX4" fmla="*/ 654050 w 654050"/>
                  <a:gd name="connsiteY4" fmla="*/ 41275 h 180975"/>
                  <a:gd name="connsiteX0" fmla="*/ 615950 w 615950"/>
                  <a:gd name="connsiteY0" fmla="*/ 41275 h 180975"/>
                  <a:gd name="connsiteX1" fmla="*/ 466725 w 615950"/>
                  <a:gd name="connsiteY1" fmla="*/ 0 h 180975"/>
                  <a:gd name="connsiteX2" fmla="*/ 0 w 615950"/>
                  <a:gd name="connsiteY2" fmla="*/ 136525 h 180975"/>
                  <a:gd name="connsiteX3" fmla="*/ 139700 w 615950"/>
                  <a:gd name="connsiteY3" fmla="*/ 180975 h 180975"/>
                  <a:gd name="connsiteX4" fmla="*/ 615950 w 615950"/>
                  <a:gd name="connsiteY4" fmla="*/ 41275 h 180975"/>
                  <a:gd name="connsiteX0" fmla="*/ 615950 w 615950"/>
                  <a:gd name="connsiteY0" fmla="*/ 41275 h 161925"/>
                  <a:gd name="connsiteX1" fmla="*/ 466725 w 615950"/>
                  <a:gd name="connsiteY1" fmla="*/ 0 h 161925"/>
                  <a:gd name="connsiteX2" fmla="*/ 0 w 615950"/>
                  <a:gd name="connsiteY2" fmla="*/ 136525 h 161925"/>
                  <a:gd name="connsiteX3" fmla="*/ 158750 w 615950"/>
                  <a:gd name="connsiteY3" fmla="*/ 161925 h 161925"/>
                  <a:gd name="connsiteX4" fmla="*/ 615950 w 615950"/>
                  <a:gd name="connsiteY4" fmla="*/ 41275 h 161925"/>
                  <a:gd name="connsiteX0" fmla="*/ 615950 w 615950"/>
                  <a:gd name="connsiteY0" fmla="*/ 41275 h 139700"/>
                  <a:gd name="connsiteX1" fmla="*/ 466725 w 615950"/>
                  <a:gd name="connsiteY1" fmla="*/ 0 h 139700"/>
                  <a:gd name="connsiteX2" fmla="*/ 0 w 615950"/>
                  <a:gd name="connsiteY2" fmla="*/ 136525 h 139700"/>
                  <a:gd name="connsiteX3" fmla="*/ 196850 w 615950"/>
                  <a:gd name="connsiteY3" fmla="*/ 139700 h 139700"/>
                  <a:gd name="connsiteX4" fmla="*/ 615950 w 615950"/>
                  <a:gd name="connsiteY4" fmla="*/ 41275 h 139700"/>
                  <a:gd name="connsiteX0" fmla="*/ 615950 w 615950"/>
                  <a:gd name="connsiteY0" fmla="*/ 41275 h 161925"/>
                  <a:gd name="connsiteX1" fmla="*/ 466725 w 615950"/>
                  <a:gd name="connsiteY1" fmla="*/ 0 h 161925"/>
                  <a:gd name="connsiteX2" fmla="*/ 0 w 615950"/>
                  <a:gd name="connsiteY2" fmla="*/ 136525 h 161925"/>
                  <a:gd name="connsiteX3" fmla="*/ 152400 w 615950"/>
                  <a:gd name="connsiteY3" fmla="*/ 161925 h 161925"/>
                  <a:gd name="connsiteX4" fmla="*/ 615950 w 615950"/>
                  <a:gd name="connsiteY4" fmla="*/ 41275 h 161925"/>
                  <a:gd name="connsiteX0" fmla="*/ 615950 w 615950"/>
                  <a:gd name="connsiteY0" fmla="*/ 41275 h 171450"/>
                  <a:gd name="connsiteX1" fmla="*/ 466725 w 615950"/>
                  <a:gd name="connsiteY1" fmla="*/ 0 h 171450"/>
                  <a:gd name="connsiteX2" fmla="*/ 0 w 615950"/>
                  <a:gd name="connsiteY2" fmla="*/ 136525 h 171450"/>
                  <a:gd name="connsiteX3" fmla="*/ 139700 w 615950"/>
                  <a:gd name="connsiteY3" fmla="*/ 171450 h 171450"/>
                  <a:gd name="connsiteX4" fmla="*/ 615950 w 615950"/>
                  <a:gd name="connsiteY4" fmla="*/ 41275 h 171450"/>
                  <a:gd name="connsiteX0" fmla="*/ 603250 w 603250"/>
                  <a:gd name="connsiteY0" fmla="*/ 38100 h 171450"/>
                  <a:gd name="connsiteX1" fmla="*/ 466725 w 603250"/>
                  <a:gd name="connsiteY1" fmla="*/ 0 h 171450"/>
                  <a:gd name="connsiteX2" fmla="*/ 0 w 603250"/>
                  <a:gd name="connsiteY2" fmla="*/ 136525 h 171450"/>
                  <a:gd name="connsiteX3" fmla="*/ 139700 w 603250"/>
                  <a:gd name="connsiteY3" fmla="*/ 171450 h 171450"/>
                  <a:gd name="connsiteX4" fmla="*/ 603250 w 603250"/>
                  <a:gd name="connsiteY4" fmla="*/ 38100 h 171450"/>
                  <a:gd name="connsiteX0" fmla="*/ 590550 w 590550"/>
                  <a:gd name="connsiteY0" fmla="*/ 31750 h 171450"/>
                  <a:gd name="connsiteX1" fmla="*/ 466725 w 590550"/>
                  <a:gd name="connsiteY1" fmla="*/ 0 h 171450"/>
                  <a:gd name="connsiteX2" fmla="*/ 0 w 590550"/>
                  <a:gd name="connsiteY2" fmla="*/ 136525 h 171450"/>
                  <a:gd name="connsiteX3" fmla="*/ 139700 w 590550"/>
                  <a:gd name="connsiteY3" fmla="*/ 171450 h 171450"/>
                  <a:gd name="connsiteX4" fmla="*/ 590550 w 590550"/>
                  <a:gd name="connsiteY4" fmla="*/ 3175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171450">
                    <a:moveTo>
                      <a:pt x="590550" y="31750"/>
                    </a:moveTo>
                    <a:lnTo>
                      <a:pt x="466725" y="0"/>
                    </a:lnTo>
                    <a:lnTo>
                      <a:pt x="0" y="136525"/>
                    </a:lnTo>
                    <a:lnTo>
                      <a:pt x="139700" y="171450"/>
                    </a:lnTo>
                    <a:lnTo>
                      <a:pt x="590550" y="3175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2" name="Group 11"/>
          <p:cNvGrpSpPr/>
          <p:nvPr/>
        </p:nvGrpSpPr>
        <p:grpSpPr>
          <a:xfrm>
            <a:off x="272314" y="1276938"/>
            <a:ext cx="2444879" cy="1720268"/>
            <a:chOff x="272314" y="1276938"/>
            <a:chExt cx="2444879" cy="1720268"/>
          </a:xfrm>
        </p:grpSpPr>
        <p:grpSp>
          <p:nvGrpSpPr>
            <p:cNvPr id="21" name="Group 20"/>
            <p:cNvGrpSpPr/>
            <p:nvPr/>
          </p:nvGrpSpPr>
          <p:grpSpPr>
            <a:xfrm>
              <a:off x="272314" y="1276938"/>
              <a:ext cx="2444879" cy="1720268"/>
              <a:chOff x="218065" y="2298702"/>
              <a:chExt cx="2444879" cy="1720268"/>
            </a:xfrm>
          </p:grpSpPr>
          <p:sp>
            <p:nvSpPr>
              <p:cNvPr id="93" name="Rectangle 92"/>
              <p:cNvSpPr/>
              <p:nvPr/>
            </p:nvSpPr>
            <p:spPr bwMode="auto">
              <a:xfrm>
                <a:off x="218065" y="2298702"/>
                <a:ext cx="2444879" cy="172026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9" name="Group 8"/>
              <p:cNvGrpSpPr/>
              <p:nvPr/>
            </p:nvGrpSpPr>
            <p:grpSpPr>
              <a:xfrm>
                <a:off x="636578" y="2587730"/>
                <a:ext cx="1698924" cy="1182240"/>
                <a:chOff x="934114" y="2805236"/>
                <a:chExt cx="1698924" cy="1182240"/>
              </a:xfrm>
            </p:grpSpPr>
            <p:sp>
              <p:nvSpPr>
                <p:cNvPr id="92" name="Rectangle 91"/>
                <p:cNvSpPr/>
                <p:nvPr/>
              </p:nvSpPr>
              <p:spPr>
                <a:xfrm>
                  <a:off x="934114" y="3793577"/>
                  <a:ext cx="1698924" cy="193899"/>
                </a:xfrm>
                <a:prstGeom prst="rect">
                  <a:avLst/>
                </a:prstGeom>
                <a:ln>
                  <a:noFill/>
                </a:ln>
              </p:spPr>
              <p:txBody>
                <a:bodyPr wrap="square" lIns="0" tIns="0" rIns="0" bIns="0" anchor="ctr">
                  <a:spAutoFit/>
                </a:bodyPr>
                <a:lstStyle/>
                <a:p>
                  <a:pPr algn="ctr" defTabSz="914099" fontAlgn="base">
                    <a:lnSpc>
                      <a:spcPct val="90000"/>
                    </a:lnSpc>
                    <a:spcBef>
                      <a:spcPct val="0"/>
                    </a:spcBef>
                    <a:spcAft>
                      <a:spcPct val="0"/>
                    </a:spcAft>
                    <a:buSzPct val="80000"/>
                  </a:pPr>
                  <a:r>
                    <a:rPr lang="en-US" sz="1400" spc="-50" dirty="0">
                      <a:solidFill>
                        <a:srgbClr val="00188F"/>
                      </a:solidFill>
                    </a:rPr>
                    <a:t>Active Directory</a:t>
                  </a:r>
                </a:p>
              </p:txBody>
            </p:sp>
            <p:pic>
              <p:nvPicPr>
                <p:cNvPr id="91" name="Picture 9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p:spPr>
            </p:pic>
          </p:grpSp>
        </p:grpSp>
        <p:pic>
          <p:nvPicPr>
            <p:cNvPr id="83" name="Picture 8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p:spPr>
        </p:pic>
      </p:grpSp>
    </p:spTree>
    <p:extLst>
      <p:ext uri="{BB962C8B-B14F-4D97-AF65-F5344CB8AC3E}">
        <p14:creationId xmlns:p14="http://schemas.microsoft.com/office/powerpoint/2010/main" val="3753659932"/>
      </p:ext>
    </p:extLst>
  </p:cSld>
  <p:clrMapOvr>
    <a:masterClrMapping/>
  </p:clrMapOvr>
  <p:transition spd="slow">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13" name="Text Placeholder 7"/>
          <p:cNvSpPr txBox="1">
            <a:spLocks/>
          </p:cNvSpPr>
          <p:nvPr/>
        </p:nvSpPr>
        <p:spPr>
          <a:xfrm>
            <a:off x="184415" y="5051725"/>
            <a:ext cx="12070012" cy="154503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00BCF2"/>
              </a:buClr>
            </a:pPr>
            <a:r>
              <a:rPr lang="en-US" sz="3800" dirty="0">
                <a:gradFill>
                  <a:gsLst>
                    <a:gs pos="1250">
                      <a:srgbClr val="FFFFFF"/>
                    </a:gs>
                    <a:gs pos="100000">
                      <a:srgbClr val="FFFFFF"/>
                    </a:gs>
                  </a:gsLst>
                  <a:lin ang="5400000" scaled="0"/>
                </a:gradFill>
              </a:rPr>
              <a:t>Find </a:t>
            </a:r>
            <a:r>
              <a:rPr lang="en-US" sz="3800" dirty="0" smtClean="0">
                <a:gradFill>
                  <a:gsLst>
                    <a:gs pos="1250">
                      <a:srgbClr val="FFFFFF"/>
                    </a:gs>
                    <a:gs pos="100000">
                      <a:srgbClr val="FFFFFF"/>
                    </a:gs>
                  </a:gsLst>
                  <a:lin ang="5400000" scaled="0"/>
                </a:gradFill>
              </a:rPr>
              <a:t>us later at Azure Booth. </a:t>
            </a:r>
          </a:p>
          <a:p>
            <a:pPr>
              <a:spcBef>
                <a:spcPts val="2400"/>
              </a:spcBef>
              <a:buClr>
                <a:srgbClr val="00BCF2"/>
              </a:buClr>
            </a:pPr>
            <a:r>
              <a:rPr lang="en-US" sz="3800" dirty="0" smtClean="0">
                <a:gradFill>
                  <a:gsLst>
                    <a:gs pos="1250">
                      <a:srgbClr val="FFFFFF"/>
                    </a:gs>
                    <a:gs pos="100000">
                      <a:srgbClr val="FFFFFF"/>
                    </a:gs>
                  </a:gsLst>
                  <a:lin ang="5400000" scaled="0"/>
                </a:gradFill>
              </a:rPr>
              <a:t>twitter : @</a:t>
            </a:r>
            <a:r>
              <a:rPr lang="en-US" sz="3800" dirty="0" err="1" smtClean="0">
                <a:gradFill>
                  <a:gsLst>
                    <a:gs pos="1250">
                      <a:srgbClr val="FFFFFF"/>
                    </a:gs>
                    <a:gs pos="100000">
                      <a:srgbClr val="FFFFFF"/>
                    </a:gs>
                  </a:gsLst>
                  <a:lin ang="5400000" scaled="0"/>
                </a:gradFill>
              </a:rPr>
              <a:t>akladakis</a:t>
            </a:r>
            <a:r>
              <a:rPr lang="en-US" sz="3800" dirty="0" smtClean="0">
                <a:gradFill>
                  <a:gsLst>
                    <a:gs pos="1250">
                      <a:srgbClr val="FFFFFF"/>
                    </a:gs>
                    <a:gs pos="100000">
                      <a:srgbClr val="FFFFFF"/>
                    </a:gs>
                  </a:gsLst>
                  <a:lin ang="5400000" scaled="0"/>
                </a:gradFill>
              </a:rPr>
              <a:t> </a:t>
            </a:r>
            <a:endParaRPr lang="en-US" sz="3800" dirty="0">
              <a:gradFill>
                <a:gsLst>
                  <a:gs pos="1250">
                    <a:srgbClr val="FFFFFF"/>
                  </a:gs>
                  <a:gs pos="100000">
                    <a:srgbClr val="FFFFFF"/>
                  </a:gs>
                </a:gsLst>
                <a:lin ang="5400000" scaled="0"/>
              </a:gradFill>
            </a:endParaRPr>
          </a:p>
        </p:txBody>
      </p:sp>
      <p:graphicFrame>
        <p:nvGraphicFramePr>
          <p:cNvPr id="15" name="Table 14"/>
          <p:cNvGraphicFramePr>
            <a:graphicFrameLocks noGrp="1"/>
          </p:cNvGraphicFramePr>
          <p:nvPr>
            <p:extLst/>
          </p:nvPr>
        </p:nvGraphicFramePr>
        <p:xfrm>
          <a:off x="366141" y="1237817"/>
          <a:ext cx="11869965" cy="3794760"/>
        </p:xfrm>
        <a:graphic>
          <a:graphicData uri="http://schemas.openxmlformats.org/drawingml/2006/table">
            <a:tbl>
              <a:tblPr firstRow="1" bandRow="1">
                <a:tableStyleId>{5C22544A-7EE6-4342-B048-85BDC9FD1C3A}</a:tableStyleId>
              </a:tblPr>
              <a:tblGrid>
                <a:gridCol w="1580598"/>
                <a:gridCol w="6332712"/>
                <a:gridCol w="3956655"/>
              </a:tblGrid>
              <a:tr h="370840">
                <a:tc>
                  <a:txBody>
                    <a:bodyPr/>
                    <a:lstStyle/>
                    <a:p>
                      <a:r>
                        <a:rPr lang="en-US" sz="1200" dirty="0" smtClean="0"/>
                        <a:t>Session</a:t>
                      </a:r>
                      <a:endParaRPr lang="en-US" sz="1200" dirty="0"/>
                    </a:p>
                  </a:txBody>
                  <a:tcPr/>
                </a:tc>
                <a:tc>
                  <a:txBody>
                    <a:bodyPr/>
                    <a:lstStyle/>
                    <a:p>
                      <a:r>
                        <a:rPr lang="en-US" sz="1200" dirty="0" smtClean="0"/>
                        <a:t>Title</a:t>
                      </a:r>
                      <a:endParaRPr lang="en-US" sz="1200" dirty="0"/>
                    </a:p>
                  </a:txBody>
                  <a:tcPr/>
                </a:tc>
                <a:tc>
                  <a:txBody>
                    <a:bodyPr/>
                    <a:lstStyle/>
                    <a:p>
                      <a:r>
                        <a:rPr lang="en-US" sz="1200" dirty="0" smtClean="0"/>
                        <a:t>Timeslot</a:t>
                      </a:r>
                      <a:endParaRPr lang="en-US" sz="1200" dirty="0"/>
                    </a:p>
                  </a:txBody>
                  <a:tcPr/>
                </a:tc>
              </a:tr>
              <a:tr h="370840">
                <a:tc>
                  <a:txBody>
                    <a:bodyPr/>
                    <a:lstStyle/>
                    <a:p>
                      <a:r>
                        <a:rPr lang="en-US" sz="1200" dirty="0" smtClean="0"/>
                        <a:t>FDN02</a:t>
                      </a:r>
                      <a:endParaRPr lang="en-US" sz="1200" dirty="0"/>
                    </a:p>
                  </a:txBody>
                  <a:tcPr/>
                </a:tc>
                <a:tc>
                  <a:txBody>
                    <a:bodyPr/>
                    <a:lstStyle/>
                    <a:p>
                      <a:r>
                        <a:rPr lang="en-US" sz="1200" dirty="0" smtClean="0"/>
                        <a:t>Enabling Enterprise Mobility with Windows Intune, Microsoft Azure, and Windows Server</a:t>
                      </a:r>
                      <a:endParaRPr lang="en-US" sz="1200" dirty="0"/>
                    </a:p>
                  </a:txBody>
                  <a:tcPr/>
                </a:tc>
                <a:tc>
                  <a:txBody>
                    <a:bodyPr/>
                    <a:lstStyle/>
                    <a:p>
                      <a:r>
                        <a:rPr lang="en-US" sz="1200" dirty="0" smtClean="0"/>
                        <a:t>Monday, May 12 11:00 AM - 12:00 PM </a:t>
                      </a:r>
                      <a:endParaRPr lang="en-US" sz="1200" dirty="0"/>
                    </a:p>
                  </a:txBody>
                  <a:tcPr/>
                </a:tc>
              </a:tr>
              <a:tr h="370840">
                <a:tc>
                  <a:txBody>
                    <a:bodyPr/>
                    <a:lstStyle/>
                    <a:p>
                      <a:r>
                        <a:rPr lang="en-US" sz="1200" dirty="0" smtClean="0">
                          <a:effectLst/>
                        </a:rPr>
                        <a:t>PCIT-B334</a:t>
                      </a:r>
                      <a:endParaRPr lang="en-US" sz="1200" dirty="0"/>
                    </a:p>
                  </a:txBody>
                  <a:tcPr/>
                </a:tc>
                <a:tc>
                  <a:txBody>
                    <a:bodyPr/>
                    <a:lstStyle/>
                    <a:p>
                      <a:r>
                        <a:rPr lang="en-US" sz="1200" dirty="0" smtClean="0">
                          <a:effectLst/>
                        </a:rPr>
                        <a:t>Multi-Factor Authentication Deep Dive: Securing Access On-Premises and in the Cloud </a:t>
                      </a:r>
                      <a:endParaRPr lang="en-US" sz="1200" dirty="0"/>
                    </a:p>
                  </a:txBody>
                  <a:tcPr/>
                </a:tc>
                <a:tc>
                  <a:txBody>
                    <a:bodyPr/>
                    <a:lstStyle/>
                    <a:p>
                      <a:r>
                        <a:rPr lang="en-US" sz="1200" dirty="0" smtClean="0">
                          <a:effectLst/>
                        </a:rPr>
                        <a:t>Thursday, May 15 1:00 PM - 2:15 PM</a:t>
                      </a:r>
                      <a:endParaRPr lang="en-US" sz="1200" dirty="0"/>
                    </a:p>
                  </a:txBody>
                  <a:tcPr/>
                </a:tc>
              </a:tr>
              <a:tr h="370840">
                <a:tc>
                  <a:txBody>
                    <a:bodyPr/>
                    <a:lstStyle/>
                    <a:p>
                      <a:r>
                        <a:rPr lang="en-US" sz="1200" dirty="0" smtClean="0"/>
                        <a:t>OFC-B250</a:t>
                      </a:r>
                      <a:endParaRPr lang="en-US" sz="1200" dirty="0"/>
                    </a:p>
                  </a:txBody>
                  <a:tcPr/>
                </a:tc>
                <a:tc>
                  <a:txBody>
                    <a:bodyPr/>
                    <a:lstStyle/>
                    <a:p>
                      <a:r>
                        <a:rPr lang="en-US" sz="1200" dirty="0" smtClean="0"/>
                        <a:t>Multi-Factor</a:t>
                      </a:r>
                      <a:r>
                        <a:rPr lang="en-US" sz="1200" baseline="0" dirty="0" smtClean="0"/>
                        <a:t> Authentication for Office 365</a:t>
                      </a:r>
                      <a:endParaRPr lang="en-US" sz="1200" dirty="0"/>
                    </a:p>
                  </a:txBody>
                  <a:tcPr/>
                </a:tc>
                <a:tc>
                  <a:txBody>
                    <a:bodyPr/>
                    <a:lstStyle/>
                    <a:p>
                      <a:r>
                        <a:rPr lang="en-US" sz="1200" kern="1200" dirty="0" smtClean="0">
                          <a:solidFill>
                            <a:schemeClr val="dk1"/>
                          </a:solidFill>
                          <a:latin typeface="+mn-lt"/>
                          <a:ea typeface="+mn-ea"/>
                          <a:cs typeface="+mn-cs"/>
                        </a:rPr>
                        <a:t>Wednesday, May 14 10:15 AM - 11:30 AM</a:t>
                      </a:r>
                      <a:endParaRPr lang="en-US" sz="1200" kern="1200" dirty="0">
                        <a:solidFill>
                          <a:schemeClr val="dk1"/>
                        </a:solidFill>
                        <a:latin typeface="+mn-lt"/>
                        <a:ea typeface="+mn-ea"/>
                        <a:cs typeface="+mn-cs"/>
                      </a:endParaRPr>
                    </a:p>
                  </a:txBody>
                  <a:tcPr/>
                </a:tc>
              </a:tr>
              <a:tr h="370840">
                <a:tc>
                  <a:txBody>
                    <a:bodyPr/>
                    <a:lstStyle/>
                    <a:p>
                      <a:r>
                        <a:rPr lang="en-US" sz="1200" dirty="0" smtClean="0"/>
                        <a:t>PCIT-B212</a:t>
                      </a:r>
                      <a:endParaRPr lang="en-US" sz="1200" dirty="0"/>
                    </a:p>
                  </a:txBody>
                  <a:tcPr/>
                </a:tc>
                <a:tc>
                  <a:txBody>
                    <a:bodyPr/>
                    <a:lstStyle/>
                    <a:p>
                      <a:r>
                        <a:rPr lang="en-US" sz="1200" dirty="0" smtClean="0"/>
                        <a:t>Design Considerations for BYOD </a:t>
                      </a:r>
                      <a:endParaRPr lang="en-US" sz="1200" dirty="0"/>
                    </a:p>
                  </a:txBody>
                  <a:tcPr/>
                </a:tc>
                <a:tc>
                  <a:txBody>
                    <a:bodyPr/>
                    <a:lstStyle/>
                    <a:p>
                      <a:r>
                        <a:rPr lang="en-US" sz="1200" dirty="0" smtClean="0"/>
                        <a:t>Tuesday, May 13 10:15 AM - 11:30 AM </a:t>
                      </a:r>
                      <a:endParaRPr lang="en-US" sz="1200" dirty="0"/>
                    </a:p>
                  </a:txBody>
                  <a:tcPr/>
                </a:tc>
              </a:tr>
              <a:tr h="370840">
                <a:tc>
                  <a:txBody>
                    <a:bodyPr/>
                    <a:lstStyle/>
                    <a:p>
                      <a:r>
                        <a:rPr lang="en-US" sz="1200" dirty="0" smtClean="0"/>
                        <a:t>PCIT-B213</a:t>
                      </a:r>
                      <a:endParaRPr lang="en-US" sz="1200" dirty="0"/>
                    </a:p>
                  </a:txBody>
                  <a:tcPr/>
                </a:tc>
                <a:tc>
                  <a:txBody>
                    <a:bodyPr/>
                    <a:lstStyle/>
                    <a:p>
                      <a:r>
                        <a:rPr lang="en-US" sz="1200" dirty="0" smtClean="0"/>
                        <a:t>Access Control in BYOD and Directory Integration in a Hybrid Identity Infrastructure </a:t>
                      </a:r>
                      <a:endParaRPr lang="en-US" sz="1200" dirty="0"/>
                    </a:p>
                  </a:txBody>
                  <a:tcPr/>
                </a:tc>
                <a:tc>
                  <a:txBody>
                    <a:bodyPr/>
                    <a:lstStyle/>
                    <a:p>
                      <a:r>
                        <a:rPr lang="en-US" sz="1200" dirty="0" smtClean="0"/>
                        <a:t>Wednesday, May 14 3:15 PM - 4:30 PM</a:t>
                      </a:r>
                      <a:endParaRPr lang="en-US" sz="1200" dirty="0"/>
                    </a:p>
                  </a:txBody>
                  <a:tcPr/>
                </a:tc>
              </a:tr>
              <a:tr h="370840">
                <a:tc>
                  <a:txBody>
                    <a:bodyPr/>
                    <a:lstStyle/>
                    <a:p>
                      <a:r>
                        <a:rPr lang="en-US" sz="1200" dirty="0" smtClean="0"/>
                        <a:t>PCIT-B310</a:t>
                      </a:r>
                      <a:endParaRPr lang="en-US" sz="1200" dirty="0"/>
                    </a:p>
                  </a:txBody>
                  <a:tcPr/>
                </a:tc>
                <a:tc>
                  <a:txBody>
                    <a:bodyPr/>
                    <a:lstStyle/>
                    <a:p>
                      <a:r>
                        <a:rPr lang="en-US" sz="1200" dirty="0" smtClean="0"/>
                        <a:t>Empowering Your Users and Protecting Your Corporate Data </a:t>
                      </a:r>
                      <a:endParaRPr lang="en-US" sz="1200" dirty="0"/>
                    </a:p>
                  </a:txBody>
                  <a:tcPr/>
                </a:tc>
                <a:tc>
                  <a:txBody>
                    <a:bodyPr/>
                    <a:lstStyle/>
                    <a:p>
                      <a:r>
                        <a:rPr lang="en-US" sz="1200" dirty="0" smtClean="0"/>
                        <a:t>Monday, May 12 1:15 PM - 2:30 PM </a:t>
                      </a:r>
                      <a:endParaRPr lang="en-US" sz="1200" dirty="0"/>
                    </a:p>
                  </a:txBody>
                  <a:tcPr/>
                </a:tc>
              </a:tr>
              <a:tr h="370840">
                <a:tc>
                  <a:txBody>
                    <a:bodyPr/>
                    <a:lstStyle/>
                    <a:p>
                      <a:r>
                        <a:rPr lang="en-US" sz="1200" dirty="0" smtClean="0"/>
                        <a:t>PCIT-B313</a:t>
                      </a:r>
                      <a:endParaRPr lang="en-US" sz="1200" dirty="0"/>
                    </a:p>
                  </a:txBody>
                  <a:tcPr/>
                </a:tc>
                <a:tc>
                  <a:txBody>
                    <a:bodyPr/>
                    <a:lstStyle/>
                    <a:p>
                      <a:r>
                        <a:rPr lang="en-US" sz="1200" dirty="0" smtClean="0"/>
                        <a:t>Hybrid Identity: Extending Active Directory to the Cloud </a:t>
                      </a:r>
                      <a:endParaRPr lang="en-US" sz="1200" dirty="0"/>
                    </a:p>
                  </a:txBody>
                  <a:tcPr/>
                </a:tc>
                <a:tc>
                  <a:txBody>
                    <a:bodyPr/>
                    <a:lstStyle/>
                    <a:p>
                      <a:r>
                        <a:rPr lang="en-US" sz="1200" dirty="0" smtClean="0"/>
                        <a:t>Monday, May 12 4:45 PM - 6:00 PM </a:t>
                      </a:r>
                      <a:endParaRPr lang="en-US" sz="1200" dirty="0"/>
                    </a:p>
                  </a:txBody>
                  <a:tcPr/>
                </a:tc>
              </a:tr>
              <a:tr h="370840">
                <a:tc>
                  <a:txBody>
                    <a:bodyPr/>
                    <a:lstStyle/>
                    <a:p>
                      <a:r>
                        <a:rPr lang="en-US" sz="1200" dirty="0" smtClean="0"/>
                        <a:t>PCIT-B314</a:t>
                      </a:r>
                      <a:endParaRPr lang="en-US" sz="1200" dirty="0"/>
                    </a:p>
                  </a:txBody>
                  <a:tcPr/>
                </a:tc>
                <a:tc>
                  <a:txBody>
                    <a:bodyPr/>
                    <a:lstStyle/>
                    <a:p>
                      <a:r>
                        <a:rPr lang="en-US" sz="1200" dirty="0" smtClean="0"/>
                        <a:t>Understanding Microsoft’s BYOD Strategy and an Introduction to New Capabilities in Windows Server 2012 R2 </a:t>
                      </a:r>
                      <a:endParaRPr lang="en-US" sz="1200" dirty="0"/>
                    </a:p>
                  </a:txBody>
                  <a:tcPr/>
                </a:tc>
                <a:tc>
                  <a:txBody>
                    <a:bodyPr/>
                    <a:lstStyle/>
                    <a:p>
                      <a:r>
                        <a:rPr lang="en-US" sz="1200" dirty="0" smtClean="0"/>
                        <a:t>Tuesday, May 13 8:30 AM - 9:45 AM </a:t>
                      </a:r>
                      <a:endParaRPr lang="en-US" sz="1200" dirty="0"/>
                    </a:p>
                  </a:txBody>
                  <a:tcPr/>
                </a:tc>
              </a:tr>
              <a:tr h="370840">
                <a:tc>
                  <a:txBody>
                    <a:bodyPr/>
                    <a:lstStyle/>
                    <a:p>
                      <a:r>
                        <a:rPr lang="en-US" sz="1200" dirty="0" smtClean="0"/>
                        <a:t>PCIT-B330</a:t>
                      </a:r>
                      <a:endParaRPr lang="en-US" sz="1200" dirty="0"/>
                    </a:p>
                  </a:txBody>
                  <a:tcPr/>
                </a:tc>
                <a:tc>
                  <a:txBody>
                    <a:bodyPr/>
                    <a:lstStyle/>
                    <a:p>
                      <a:r>
                        <a:rPr lang="en-US" sz="1200" dirty="0" smtClean="0"/>
                        <a:t>Active Directory + BYOD = Peace of Mind </a:t>
                      </a:r>
                      <a:endParaRPr lang="en-US" sz="1200" dirty="0"/>
                    </a:p>
                  </a:txBody>
                  <a:tcPr/>
                </a:tc>
                <a:tc>
                  <a:txBody>
                    <a:bodyPr/>
                    <a:lstStyle/>
                    <a:p>
                      <a:r>
                        <a:rPr lang="en-US" sz="1200" dirty="0" smtClean="0"/>
                        <a:t>Thursday, May 15 8:30 AM - 9:45 AM </a:t>
                      </a:r>
                      <a:endParaRPr lang="en-US" sz="1200" dirty="0"/>
                    </a:p>
                  </a:txBody>
                  <a:tcPr/>
                </a:tc>
              </a:tr>
            </a:tbl>
          </a:graphicData>
        </a:graphic>
      </p:graphicFrame>
    </p:spTree>
    <p:extLst>
      <p:ext uri="{BB962C8B-B14F-4D97-AF65-F5344CB8AC3E}">
        <p14:creationId xmlns:p14="http://schemas.microsoft.com/office/powerpoint/2010/main" val="509848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63" presetClass="path" presetSubtype="0" decel="100000" fill="hold" grpId="1" nodeType="withEffect">
                                  <p:stCondLst>
                                    <p:cond delay="1000"/>
                                  </p:stCondLst>
                                  <p:childTnLst>
                                    <p:animMotion origin="layout" path="M -0.02413 1.78393E-6 L 2.26704E-6 1.78393E-6 " pathEditMode="relative" rAng="0" ptsTypes="AA">
                                      <p:cBhvr>
                                        <p:cTn id="9" dur="5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4935138" y="3910089"/>
            <a:ext cx="2108465" cy="2102904"/>
            <a:chOff x="4811820" y="3833769"/>
            <a:chExt cx="2067310" cy="2061858"/>
          </a:xfrm>
        </p:grpSpPr>
        <p:sp>
          <p:nvSpPr>
            <p:cNvPr id="30" name="Rectangle 29"/>
            <p:cNvSpPr/>
            <p:nvPr/>
          </p:nvSpPr>
          <p:spPr bwMode="auto">
            <a:xfrm>
              <a:off x="4811820" y="3833769"/>
              <a:ext cx="2067310" cy="206185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685833" fontAlgn="base">
                <a:spcBef>
                  <a:spcPct val="0"/>
                </a:spcBef>
                <a:spcAft>
                  <a:spcPct val="0"/>
                </a:spcAft>
              </a:pPr>
              <a:r>
                <a:rPr lang="en-US" sz="3570" dirty="0" smtClean="0">
                  <a:solidFill>
                    <a:srgbClr val="FFFFFF"/>
                  </a:solidFill>
                  <a:latin typeface="Segoe UI Light"/>
                </a:rPr>
                <a:t>12B+</a:t>
              </a:r>
              <a:endParaRPr lang="en-US" sz="3570" dirty="0">
                <a:solidFill>
                  <a:srgbClr val="FFFFFF"/>
                </a:solidFill>
                <a:latin typeface="Segoe UI Light"/>
              </a:endParaRPr>
            </a:p>
            <a:p>
              <a:pPr defTabSz="685833" fontAlgn="base">
                <a:spcBef>
                  <a:spcPct val="0"/>
                </a:spcBef>
                <a:spcAft>
                  <a:spcPct val="0"/>
                </a:spcAft>
              </a:pPr>
              <a:r>
                <a:rPr lang="en-US" sz="1224" dirty="0" smtClean="0">
                  <a:solidFill>
                    <a:srgbClr val="FFFFFF"/>
                  </a:solidFill>
                </a:rPr>
                <a:t>Microsoft Azure </a:t>
              </a:r>
              <a:r>
                <a:rPr lang="en-US" sz="1224" dirty="0">
                  <a:solidFill>
                    <a:srgbClr val="FFFFFF"/>
                  </a:solidFill>
                </a:rPr>
                <a:t>AD </a:t>
              </a:r>
              <a:r>
                <a:rPr lang="en-US" sz="1224" dirty="0" smtClean="0">
                  <a:solidFill>
                    <a:srgbClr val="FFFFFF"/>
                  </a:solidFill>
                </a:rPr>
                <a:t>authentications per week</a:t>
              </a:r>
              <a:endParaRPr lang="en-US" sz="1122" i="1" dirty="0">
                <a:solidFill>
                  <a:srgbClr val="FFFFFF"/>
                </a:solidFill>
              </a:endParaRPr>
            </a:p>
          </p:txBody>
        </p:sp>
        <p:pic>
          <p:nvPicPr>
            <p:cNvPr id="73" name="Picture 2" descr="http://scienceclouds.org/wp-content/uploads/2013/04/WinAzure2.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4909" t="18916" r="79868" b="16349"/>
            <a:stretch/>
          </p:blipFill>
          <p:spPr bwMode="auto">
            <a:xfrm>
              <a:off x="6409244" y="5422903"/>
              <a:ext cx="341268" cy="3499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Group 88"/>
          <p:cNvGrpSpPr/>
          <p:nvPr/>
        </p:nvGrpSpPr>
        <p:grpSpPr>
          <a:xfrm>
            <a:off x="7043601" y="3910089"/>
            <a:ext cx="2108465" cy="2102904"/>
            <a:chOff x="6879128" y="3833769"/>
            <a:chExt cx="2067310" cy="2061858"/>
          </a:xfrm>
        </p:grpSpPr>
        <p:sp>
          <p:nvSpPr>
            <p:cNvPr id="31" name="Rectangle 30"/>
            <p:cNvSpPr/>
            <p:nvPr/>
          </p:nvSpPr>
          <p:spPr bwMode="auto">
            <a:xfrm>
              <a:off x="6879128" y="3833769"/>
              <a:ext cx="2067310" cy="2061858"/>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685833" fontAlgn="base">
                <a:spcBef>
                  <a:spcPct val="0"/>
                </a:spcBef>
                <a:spcAft>
                  <a:spcPct val="0"/>
                </a:spcAft>
              </a:pPr>
              <a:r>
                <a:rPr lang="en-US" sz="3570" dirty="0">
                  <a:solidFill>
                    <a:srgbClr val="FFFFFF"/>
                  </a:solidFill>
                  <a:latin typeface="Segoe UI Light"/>
                </a:rPr>
                <a:t>280% </a:t>
              </a:r>
            </a:p>
            <a:p>
              <a:pPr defTabSz="685833" fontAlgn="base">
                <a:spcBef>
                  <a:spcPct val="0"/>
                </a:spcBef>
                <a:spcAft>
                  <a:spcPct val="0"/>
                </a:spcAft>
              </a:pPr>
              <a:r>
                <a:rPr lang="en-US" sz="1224" dirty="0">
                  <a:solidFill>
                    <a:srgbClr val="FFFFFF"/>
                  </a:solidFill>
                </a:rPr>
                <a:t>year-over-year </a:t>
              </a:r>
              <a:br>
                <a:rPr lang="en-US" sz="1224" dirty="0">
                  <a:solidFill>
                    <a:srgbClr val="FFFFFF"/>
                  </a:solidFill>
                </a:rPr>
              </a:br>
              <a:r>
                <a:rPr lang="en-US" sz="1224" dirty="0">
                  <a:solidFill>
                    <a:srgbClr val="FFFFFF"/>
                  </a:solidFill>
                </a:rPr>
                <a:t>database growth in </a:t>
              </a:r>
              <a:r>
                <a:rPr lang="en-US" sz="1224" dirty="0" smtClean="0">
                  <a:solidFill>
                    <a:srgbClr val="FFFFFF"/>
                  </a:solidFill>
                </a:rPr>
                <a:t>Microsoft Azure</a:t>
              </a:r>
              <a:endParaRPr lang="en-US" sz="1224" dirty="0">
                <a:solidFill>
                  <a:srgbClr val="FFFFFF"/>
                </a:solidFill>
              </a:endParaRPr>
            </a:p>
          </p:txBody>
        </p:sp>
        <p:pic>
          <p:nvPicPr>
            <p:cNvPr id="74" name="Picture 2" descr="http://scienceclouds.org/wp-content/uploads/2013/04/WinAzure2.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4909" t="18916" r="79868" b="16349"/>
            <a:stretch/>
          </p:blipFill>
          <p:spPr bwMode="auto">
            <a:xfrm>
              <a:off x="8464428" y="5422903"/>
              <a:ext cx="341268" cy="3499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8" name="Group 87"/>
          <p:cNvGrpSpPr/>
          <p:nvPr/>
        </p:nvGrpSpPr>
        <p:grpSpPr>
          <a:xfrm>
            <a:off x="9152066" y="3910089"/>
            <a:ext cx="2108465" cy="2102904"/>
            <a:chOff x="8946438" y="3833769"/>
            <a:chExt cx="2067310" cy="2061858"/>
          </a:xfrm>
        </p:grpSpPr>
        <p:sp>
          <p:nvSpPr>
            <p:cNvPr id="32" name="Rectangle 31"/>
            <p:cNvSpPr/>
            <p:nvPr/>
          </p:nvSpPr>
          <p:spPr bwMode="auto">
            <a:xfrm>
              <a:off x="8946438" y="3833769"/>
              <a:ext cx="2067310" cy="206185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93260" rIns="186521" bIns="149217" numCol="1" spcCol="0" rtlCol="0" fromWordArt="0" anchor="t" anchorCtr="0" forceAA="0" compatLnSpc="1">
              <a:prstTxWarp prst="textNoShape">
                <a:avLst/>
              </a:prstTxWarp>
              <a:noAutofit/>
            </a:bodyPr>
            <a:lstStyle/>
            <a:p>
              <a:pPr defTabSz="685833" fontAlgn="base">
                <a:spcBef>
                  <a:spcPct val="0"/>
                </a:spcBef>
                <a:spcAft>
                  <a:spcPct val="0"/>
                </a:spcAft>
              </a:pPr>
              <a:r>
                <a:rPr lang="en-US" sz="3570" spc="-102" dirty="0" smtClean="0">
                  <a:solidFill>
                    <a:srgbClr val="FFFFFF"/>
                  </a:solidFill>
                  <a:latin typeface="Segoe UI Light"/>
                </a:rPr>
                <a:t>54%</a:t>
              </a:r>
              <a:endParaRPr lang="en-US" sz="3570" spc="-102" dirty="0">
                <a:solidFill>
                  <a:srgbClr val="FFFFFF"/>
                </a:solidFill>
                <a:latin typeface="Segoe UI Light"/>
              </a:endParaRPr>
            </a:p>
            <a:p>
              <a:pPr defTabSz="685833" fontAlgn="base">
                <a:spcBef>
                  <a:spcPct val="0"/>
                </a:spcBef>
                <a:spcAft>
                  <a:spcPct val="0"/>
                </a:spcAft>
              </a:pPr>
              <a:r>
                <a:rPr lang="en-US" sz="1224" dirty="0">
                  <a:solidFill>
                    <a:srgbClr val="FFFFFF"/>
                  </a:solidFill>
                </a:rPr>
                <a:t>of Fortune 500 use </a:t>
              </a:r>
              <a:r>
                <a:rPr lang="en-US" sz="1224" dirty="0" smtClean="0">
                  <a:solidFill>
                    <a:srgbClr val="FFFFFF"/>
                  </a:solidFill>
                </a:rPr>
                <a:t>Microsoft Azure </a:t>
              </a:r>
              <a:endParaRPr lang="en-US" sz="1224" dirty="0">
                <a:solidFill>
                  <a:srgbClr val="FFFFFF"/>
                </a:solidFill>
              </a:endParaRPr>
            </a:p>
          </p:txBody>
        </p:sp>
        <p:pic>
          <p:nvPicPr>
            <p:cNvPr id="75" name="Picture 2" descr="http://scienceclouds.org/wp-content/uploads/2013/04/WinAzure2.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4909" t="18916" r="79868" b="16349"/>
            <a:stretch/>
          </p:blipFill>
          <p:spPr bwMode="auto">
            <a:xfrm>
              <a:off x="10543094" y="5422903"/>
              <a:ext cx="341268" cy="349908"/>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Rectangle 97"/>
          <p:cNvSpPr/>
          <p:nvPr/>
        </p:nvSpPr>
        <p:spPr>
          <a:xfrm>
            <a:off x="4797127" y="6008630"/>
            <a:ext cx="6594838" cy="985895"/>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85" name="Group 84"/>
          <p:cNvGrpSpPr/>
          <p:nvPr/>
        </p:nvGrpSpPr>
        <p:grpSpPr>
          <a:xfrm>
            <a:off x="9152066" y="1723115"/>
            <a:ext cx="2108465" cy="2102904"/>
            <a:chOff x="8946438" y="1689482"/>
            <a:chExt cx="2067310" cy="2061858"/>
          </a:xfrm>
        </p:grpSpPr>
        <p:sp>
          <p:nvSpPr>
            <p:cNvPr id="21" name="Rectangle 20"/>
            <p:cNvSpPr/>
            <p:nvPr/>
          </p:nvSpPr>
          <p:spPr bwMode="auto">
            <a:xfrm>
              <a:off x="8946438" y="1689482"/>
              <a:ext cx="2067310" cy="206185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73041" rIns="186521" bIns="149217" numCol="1" spcCol="0" rtlCol="0" fromWordArt="0" anchor="b" anchorCtr="0" forceAA="0" compatLnSpc="1">
              <a:prstTxWarp prst="textNoShape">
                <a:avLst/>
              </a:prstTxWarp>
              <a:noAutofit/>
            </a:bodyPr>
            <a:lstStyle/>
            <a:p>
              <a:pPr defTabSz="685833" fontAlgn="base">
                <a:spcBef>
                  <a:spcPct val="0"/>
                </a:spcBef>
                <a:spcAft>
                  <a:spcPct val="0"/>
                </a:spcAft>
              </a:pPr>
              <a:r>
                <a:rPr lang="en-US" sz="3570" spc="-102" dirty="0" smtClean="0">
                  <a:solidFill>
                    <a:srgbClr val="FFFFFF"/>
                  </a:solidFill>
                  <a:latin typeface="Segoe UI Light"/>
                </a:rPr>
                <a:t>349% ROI</a:t>
              </a:r>
              <a:endParaRPr lang="en-US" sz="1224" dirty="0">
                <a:solidFill>
                  <a:srgbClr val="FFFFFF"/>
                </a:solidFill>
              </a:endParaRPr>
            </a:p>
            <a:p>
              <a:pPr defTabSz="685833" fontAlgn="base">
                <a:spcBef>
                  <a:spcPts val="306"/>
                </a:spcBef>
                <a:spcAft>
                  <a:spcPct val="0"/>
                </a:spcAft>
              </a:pPr>
              <a:r>
                <a:rPr lang="en-US" sz="918" dirty="0" smtClean="0">
                  <a:solidFill>
                    <a:srgbClr val="FFFFFF">
                      <a:alpha val="60000"/>
                    </a:srgbClr>
                  </a:solidFill>
                </a:rPr>
                <a:t>(FORRESTER TES 2013)</a:t>
              </a:r>
              <a:endParaRPr lang="en-US" sz="918" dirty="0">
                <a:solidFill>
                  <a:srgbClr val="FFFFFF">
                    <a:alpha val="60000"/>
                  </a:srgbClr>
                </a:solidFill>
              </a:endParaRPr>
            </a:p>
          </p:txBody>
        </p:sp>
        <p:sp>
          <p:nvSpPr>
            <p:cNvPr id="24" name="Rectangle 23"/>
            <p:cNvSpPr/>
            <p:nvPr/>
          </p:nvSpPr>
          <p:spPr>
            <a:xfrm>
              <a:off x="9056212" y="1769528"/>
              <a:ext cx="1353256" cy="374846"/>
            </a:xfrm>
            <a:prstGeom prst="rect">
              <a:avLst/>
            </a:prstGeom>
          </p:spPr>
          <p:txBody>
            <a:bodyPr wrap="none">
              <a:spAutoFit/>
            </a:bodyPr>
            <a:lstStyle/>
            <a:p>
              <a:pPr defTabSz="932597"/>
              <a:r>
                <a:rPr lang="en-US" sz="1836" b="1" dirty="0">
                  <a:solidFill>
                    <a:srgbClr val="FFFFFF"/>
                  </a:solidFill>
                </a:rPr>
                <a:t>Economics</a:t>
              </a:r>
              <a:endParaRPr lang="en-US" sz="1836" dirty="0">
                <a:solidFill>
                  <a:srgbClr val="FFFFFF"/>
                </a:solidFill>
              </a:endParaRPr>
            </a:p>
          </p:txBody>
        </p:sp>
        <p:sp>
          <p:nvSpPr>
            <p:cNvPr id="79" name="Freeform 7"/>
            <p:cNvSpPr>
              <a:spLocks noEditPoints="1"/>
            </p:cNvSpPr>
            <p:nvPr/>
          </p:nvSpPr>
          <p:spPr bwMode="auto">
            <a:xfrm>
              <a:off x="10623809" y="1777040"/>
              <a:ext cx="227013" cy="381000"/>
            </a:xfrm>
            <a:custGeom>
              <a:avLst/>
              <a:gdLst>
                <a:gd name="T0" fmla="*/ 1279 w 2006"/>
                <a:gd name="T1" fmla="*/ 2449 h 3360"/>
                <a:gd name="T2" fmla="*/ 1343 w 2006"/>
                <a:gd name="T3" fmla="*/ 2417 h 3360"/>
                <a:gd name="T4" fmla="*/ 1403 w 2006"/>
                <a:gd name="T5" fmla="*/ 2353 h 3360"/>
                <a:gd name="T6" fmla="*/ 1434 w 2006"/>
                <a:gd name="T7" fmla="*/ 2265 h 3360"/>
                <a:gd name="T8" fmla="*/ 1425 w 2006"/>
                <a:gd name="T9" fmla="*/ 2164 h 3360"/>
                <a:gd name="T10" fmla="*/ 1376 w 2006"/>
                <a:gd name="T11" fmla="*/ 2078 h 3360"/>
                <a:gd name="T12" fmla="*/ 1290 w 2006"/>
                <a:gd name="T13" fmla="*/ 2015 h 3360"/>
                <a:gd name="T14" fmla="*/ 853 w 2006"/>
                <a:gd name="T15" fmla="*/ 888 h 3360"/>
                <a:gd name="T16" fmla="*/ 789 w 2006"/>
                <a:gd name="T17" fmla="*/ 916 h 3360"/>
                <a:gd name="T18" fmla="*/ 724 w 2006"/>
                <a:gd name="T19" fmla="*/ 976 h 3360"/>
                <a:gd name="T20" fmla="*/ 689 w 2006"/>
                <a:gd name="T21" fmla="*/ 1058 h 3360"/>
                <a:gd name="T22" fmla="*/ 697 w 2006"/>
                <a:gd name="T23" fmla="*/ 1158 h 3360"/>
                <a:gd name="T24" fmla="*/ 749 w 2006"/>
                <a:gd name="T25" fmla="*/ 1239 h 3360"/>
                <a:gd name="T26" fmla="*/ 838 w 2006"/>
                <a:gd name="T27" fmla="*/ 1295 h 3360"/>
                <a:gd name="T28" fmla="*/ 873 w 2006"/>
                <a:gd name="T29" fmla="*/ 0 h 3360"/>
                <a:gd name="T30" fmla="*/ 1330 w 2006"/>
                <a:gd name="T31" fmla="*/ 369 h 3360"/>
                <a:gd name="T32" fmla="*/ 1521 w 2006"/>
                <a:gd name="T33" fmla="*/ 417 h 3360"/>
                <a:gd name="T34" fmla="*/ 1678 w 2006"/>
                <a:gd name="T35" fmla="*/ 491 h 3360"/>
                <a:gd name="T36" fmla="*/ 1848 w 2006"/>
                <a:gd name="T37" fmla="*/ 607 h 3360"/>
                <a:gd name="T38" fmla="*/ 1587 w 2006"/>
                <a:gd name="T39" fmla="*/ 1065 h 3360"/>
                <a:gd name="T40" fmla="*/ 1500 w 2006"/>
                <a:gd name="T41" fmla="*/ 995 h 3360"/>
                <a:gd name="T42" fmla="*/ 1381 w 2006"/>
                <a:gd name="T43" fmla="*/ 922 h 3360"/>
                <a:gd name="T44" fmla="*/ 1258 w 2006"/>
                <a:gd name="T45" fmla="*/ 875 h 3360"/>
                <a:gd name="T46" fmla="*/ 1403 w 2006"/>
                <a:gd name="T47" fmla="*/ 1476 h 3360"/>
                <a:gd name="T48" fmla="*/ 1616 w 2006"/>
                <a:gd name="T49" fmla="*/ 1572 h 3360"/>
                <a:gd name="T50" fmla="*/ 1788 w 2006"/>
                <a:gd name="T51" fmla="*/ 1697 h 3360"/>
                <a:gd name="T52" fmla="*/ 1903 w 2006"/>
                <a:gd name="T53" fmla="*/ 1836 h 3360"/>
                <a:gd name="T54" fmla="*/ 1973 w 2006"/>
                <a:gd name="T55" fmla="*/ 1986 h 3360"/>
                <a:gd name="T56" fmla="*/ 2004 w 2006"/>
                <a:gd name="T57" fmla="*/ 2159 h 3360"/>
                <a:gd name="T58" fmla="*/ 1997 w 2006"/>
                <a:gd name="T59" fmla="*/ 2343 h 3360"/>
                <a:gd name="T60" fmla="*/ 1948 w 2006"/>
                <a:gd name="T61" fmla="*/ 2506 h 3360"/>
                <a:gd name="T62" fmla="*/ 1862 w 2006"/>
                <a:gd name="T63" fmla="*/ 2646 h 3360"/>
                <a:gd name="T64" fmla="*/ 1747 w 2006"/>
                <a:gd name="T65" fmla="*/ 2763 h 3360"/>
                <a:gd name="T66" fmla="*/ 1605 w 2006"/>
                <a:gd name="T67" fmla="*/ 2858 h 3360"/>
                <a:gd name="T68" fmla="*/ 1410 w 2006"/>
                <a:gd name="T69" fmla="*/ 2936 h 3360"/>
                <a:gd name="T70" fmla="*/ 1258 w 2006"/>
                <a:gd name="T71" fmla="*/ 3360 h 3360"/>
                <a:gd name="T72" fmla="*/ 791 w 2006"/>
                <a:gd name="T73" fmla="*/ 2976 h 3360"/>
                <a:gd name="T74" fmla="*/ 564 w 2006"/>
                <a:gd name="T75" fmla="*/ 2924 h 3360"/>
                <a:gd name="T76" fmla="*/ 362 w 2006"/>
                <a:gd name="T77" fmla="*/ 2840 h 3360"/>
                <a:gd name="T78" fmla="*/ 161 w 2006"/>
                <a:gd name="T79" fmla="*/ 2712 h 3360"/>
                <a:gd name="T80" fmla="*/ 0 w 2006"/>
                <a:gd name="T81" fmla="*/ 2568 h 3360"/>
                <a:gd name="T82" fmla="*/ 465 w 2006"/>
                <a:gd name="T83" fmla="*/ 2262 h 3360"/>
                <a:gd name="T84" fmla="*/ 661 w 2006"/>
                <a:gd name="T85" fmla="*/ 2390 h 3360"/>
                <a:gd name="T86" fmla="*/ 817 w 2006"/>
                <a:gd name="T87" fmla="*/ 2452 h 3360"/>
                <a:gd name="T88" fmla="*/ 828 w 2006"/>
                <a:gd name="T89" fmla="*/ 1857 h 3360"/>
                <a:gd name="T90" fmla="*/ 595 w 2006"/>
                <a:gd name="T91" fmla="*/ 1772 h 3360"/>
                <a:gd name="T92" fmla="*/ 406 w 2006"/>
                <a:gd name="T93" fmla="*/ 1663 h 3360"/>
                <a:gd name="T94" fmla="*/ 268 w 2006"/>
                <a:gd name="T95" fmla="*/ 1533 h 3360"/>
                <a:gd name="T96" fmla="*/ 180 w 2006"/>
                <a:gd name="T97" fmla="*/ 1391 h 3360"/>
                <a:gd name="T98" fmla="*/ 133 w 2006"/>
                <a:gd name="T99" fmla="*/ 1225 h 3360"/>
                <a:gd name="T100" fmla="*/ 127 w 2006"/>
                <a:gd name="T101" fmla="*/ 1034 h 3360"/>
                <a:gd name="T102" fmla="*/ 164 w 2006"/>
                <a:gd name="T103" fmla="*/ 849 h 3360"/>
                <a:gd name="T104" fmla="*/ 245 w 2006"/>
                <a:gd name="T105" fmla="*/ 689 h 3360"/>
                <a:gd name="T106" fmla="*/ 370 w 2006"/>
                <a:gd name="T107" fmla="*/ 556 h 3360"/>
                <a:gd name="T108" fmla="*/ 530 w 2006"/>
                <a:gd name="T109" fmla="*/ 453 h 3360"/>
                <a:gd name="T110" fmla="*/ 724 w 2006"/>
                <a:gd name="T111" fmla="*/ 385 h 3360"/>
                <a:gd name="T112" fmla="*/ 873 w 2006"/>
                <a:gd name="T113" fmla="*/ 0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6" h="3360">
                  <a:moveTo>
                    <a:pt x="1258" y="2000"/>
                  </a:moveTo>
                  <a:lnTo>
                    <a:pt x="1258" y="2456"/>
                  </a:lnTo>
                  <a:lnTo>
                    <a:pt x="1279" y="2449"/>
                  </a:lnTo>
                  <a:lnTo>
                    <a:pt x="1299" y="2443"/>
                  </a:lnTo>
                  <a:lnTo>
                    <a:pt x="1319" y="2433"/>
                  </a:lnTo>
                  <a:lnTo>
                    <a:pt x="1343" y="2417"/>
                  </a:lnTo>
                  <a:lnTo>
                    <a:pt x="1365" y="2399"/>
                  </a:lnTo>
                  <a:lnTo>
                    <a:pt x="1386" y="2377"/>
                  </a:lnTo>
                  <a:lnTo>
                    <a:pt x="1403" y="2353"/>
                  </a:lnTo>
                  <a:lnTo>
                    <a:pt x="1417" y="2327"/>
                  </a:lnTo>
                  <a:lnTo>
                    <a:pt x="1427" y="2297"/>
                  </a:lnTo>
                  <a:lnTo>
                    <a:pt x="1434" y="2265"/>
                  </a:lnTo>
                  <a:lnTo>
                    <a:pt x="1436" y="2231"/>
                  </a:lnTo>
                  <a:lnTo>
                    <a:pt x="1433" y="2196"/>
                  </a:lnTo>
                  <a:lnTo>
                    <a:pt x="1425" y="2164"/>
                  </a:lnTo>
                  <a:lnTo>
                    <a:pt x="1413" y="2133"/>
                  </a:lnTo>
                  <a:lnTo>
                    <a:pt x="1397" y="2105"/>
                  </a:lnTo>
                  <a:lnTo>
                    <a:pt x="1376" y="2078"/>
                  </a:lnTo>
                  <a:lnTo>
                    <a:pt x="1349" y="2054"/>
                  </a:lnTo>
                  <a:lnTo>
                    <a:pt x="1319" y="2031"/>
                  </a:lnTo>
                  <a:lnTo>
                    <a:pt x="1290" y="2015"/>
                  </a:lnTo>
                  <a:lnTo>
                    <a:pt x="1258" y="2000"/>
                  </a:lnTo>
                  <a:close/>
                  <a:moveTo>
                    <a:pt x="873" y="882"/>
                  </a:moveTo>
                  <a:lnTo>
                    <a:pt x="853" y="888"/>
                  </a:lnTo>
                  <a:lnTo>
                    <a:pt x="834" y="893"/>
                  </a:lnTo>
                  <a:lnTo>
                    <a:pt x="816" y="901"/>
                  </a:lnTo>
                  <a:lnTo>
                    <a:pt x="789" y="916"/>
                  </a:lnTo>
                  <a:lnTo>
                    <a:pt x="765" y="934"/>
                  </a:lnTo>
                  <a:lnTo>
                    <a:pt x="743" y="954"/>
                  </a:lnTo>
                  <a:lnTo>
                    <a:pt x="724" y="976"/>
                  </a:lnTo>
                  <a:lnTo>
                    <a:pt x="708" y="1002"/>
                  </a:lnTo>
                  <a:lnTo>
                    <a:pt x="696" y="1029"/>
                  </a:lnTo>
                  <a:lnTo>
                    <a:pt x="689" y="1058"/>
                  </a:lnTo>
                  <a:lnTo>
                    <a:pt x="687" y="1089"/>
                  </a:lnTo>
                  <a:lnTo>
                    <a:pt x="690" y="1125"/>
                  </a:lnTo>
                  <a:lnTo>
                    <a:pt x="697" y="1158"/>
                  </a:lnTo>
                  <a:lnTo>
                    <a:pt x="710" y="1187"/>
                  </a:lnTo>
                  <a:lnTo>
                    <a:pt x="727" y="1215"/>
                  </a:lnTo>
                  <a:lnTo>
                    <a:pt x="749" y="1239"/>
                  </a:lnTo>
                  <a:lnTo>
                    <a:pt x="776" y="1262"/>
                  </a:lnTo>
                  <a:lnTo>
                    <a:pt x="808" y="1280"/>
                  </a:lnTo>
                  <a:lnTo>
                    <a:pt x="838" y="1295"/>
                  </a:lnTo>
                  <a:lnTo>
                    <a:pt x="873" y="1309"/>
                  </a:lnTo>
                  <a:lnTo>
                    <a:pt x="873" y="882"/>
                  </a:lnTo>
                  <a:close/>
                  <a:moveTo>
                    <a:pt x="873" y="0"/>
                  </a:moveTo>
                  <a:lnTo>
                    <a:pt x="1258" y="0"/>
                  </a:lnTo>
                  <a:lnTo>
                    <a:pt x="1258" y="358"/>
                  </a:lnTo>
                  <a:lnTo>
                    <a:pt x="1330" y="369"/>
                  </a:lnTo>
                  <a:lnTo>
                    <a:pt x="1398" y="382"/>
                  </a:lnTo>
                  <a:lnTo>
                    <a:pt x="1461" y="398"/>
                  </a:lnTo>
                  <a:lnTo>
                    <a:pt x="1521" y="417"/>
                  </a:lnTo>
                  <a:lnTo>
                    <a:pt x="1577" y="439"/>
                  </a:lnTo>
                  <a:lnTo>
                    <a:pt x="1630" y="463"/>
                  </a:lnTo>
                  <a:lnTo>
                    <a:pt x="1678" y="491"/>
                  </a:lnTo>
                  <a:lnTo>
                    <a:pt x="1740" y="530"/>
                  </a:lnTo>
                  <a:lnTo>
                    <a:pt x="1797" y="569"/>
                  </a:lnTo>
                  <a:lnTo>
                    <a:pt x="1848" y="607"/>
                  </a:lnTo>
                  <a:lnTo>
                    <a:pt x="1894" y="643"/>
                  </a:lnTo>
                  <a:lnTo>
                    <a:pt x="1934" y="679"/>
                  </a:lnTo>
                  <a:lnTo>
                    <a:pt x="1587" y="1065"/>
                  </a:lnTo>
                  <a:lnTo>
                    <a:pt x="1562" y="1043"/>
                  </a:lnTo>
                  <a:lnTo>
                    <a:pt x="1532" y="1019"/>
                  </a:lnTo>
                  <a:lnTo>
                    <a:pt x="1500" y="995"/>
                  </a:lnTo>
                  <a:lnTo>
                    <a:pt x="1463" y="970"/>
                  </a:lnTo>
                  <a:lnTo>
                    <a:pt x="1423" y="946"/>
                  </a:lnTo>
                  <a:lnTo>
                    <a:pt x="1381" y="922"/>
                  </a:lnTo>
                  <a:lnTo>
                    <a:pt x="1342" y="904"/>
                  </a:lnTo>
                  <a:lnTo>
                    <a:pt x="1301" y="889"/>
                  </a:lnTo>
                  <a:lnTo>
                    <a:pt x="1258" y="875"/>
                  </a:lnTo>
                  <a:lnTo>
                    <a:pt x="1258" y="1433"/>
                  </a:lnTo>
                  <a:lnTo>
                    <a:pt x="1331" y="1454"/>
                  </a:lnTo>
                  <a:lnTo>
                    <a:pt x="1403" y="1476"/>
                  </a:lnTo>
                  <a:lnTo>
                    <a:pt x="1475" y="1503"/>
                  </a:lnTo>
                  <a:lnTo>
                    <a:pt x="1548" y="1535"/>
                  </a:lnTo>
                  <a:lnTo>
                    <a:pt x="1616" y="1572"/>
                  </a:lnTo>
                  <a:lnTo>
                    <a:pt x="1681" y="1613"/>
                  </a:lnTo>
                  <a:lnTo>
                    <a:pt x="1742" y="1658"/>
                  </a:lnTo>
                  <a:lnTo>
                    <a:pt x="1788" y="1697"/>
                  </a:lnTo>
                  <a:lnTo>
                    <a:pt x="1830" y="1740"/>
                  </a:lnTo>
                  <a:lnTo>
                    <a:pt x="1868" y="1787"/>
                  </a:lnTo>
                  <a:lnTo>
                    <a:pt x="1903" y="1836"/>
                  </a:lnTo>
                  <a:lnTo>
                    <a:pt x="1934" y="1889"/>
                  </a:lnTo>
                  <a:lnTo>
                    <a:pt x="1955" y="1937"/>
                  </a:lnTo>
                  <a:lnTo>
                    <a:pt x="1973" y="1986"/>
                  </a:lnTo>
                  <a:lnTo>
                    <a:pt x="1987" y="2040"/>
                  </a:lnTo>
                  <a:lnTo>
                    <a:pt x="1998" y="2098"/>
                  </a:lnTo>
                  <a:lnTo>
                    <a:pt x="2004" y="2159"/>
                  </a:lnTo>
                  <a:lnTo>
                    <a:pt x="2006" y="2223"/>
                  </a:lnTo>
                  <a:lnTo>
                    <a:pt x="2004" y="2284"/>
                  </a:lnTo>
                  <a:lnTo>
                    <a:pt x="1997" y="2343"/>
                  </a:lnTo>
                  <a:lnTo>
                    <a:pt x="1984" y="2400"/>
                  </a:lnTo>
                  <a:lnTo>
                    <a:pt x="1968" y="2454"/>
                  </a:lnTo>
                  <a:lnTo>
                    <a:pt x="1948" y="2506"/>
                  </a:lnTo>
                  <a:lnTo>
                    <a:pt x="1922" y="2556"/>
                  </a:lnTo>
                  <a:lnTo>
                    <a:pt x="1894" y="2602"/>
                  </a:lnTo>
                  <a:lnTo>
                    <a:pt x="1862" y="2646"/>
                  </a:lnTo>
                  <a:lnTo>
                    <a:pt x="1828" y="2688"/>
                  </a:lnTo>
                  <a:lnTo>
                    <a:pt x="1789" y="2727"/>
                  </a:lnTo>
                  <a:lnTo>
                    <a:pt x="1747" y="2763"/>
                  </a:lnTo>
                  <a:lnTo>
                    <a:pt x="1702" y="2797"/>
                  </a:lnTo>
                  <a:lnTo>
                    <a:pt x="1655" y="2829"/>
                  </a:lnTo>
                  <a:lnTo>
                    <a:pt x="1605" y="2858"/>
                  </a:lnTo>
                  <a:lnTo>
                    <a:pt x="1552" y="2883"/>
                  </a:lnTo>
                  <a:lnTo>
                    <a:pt x="1482" y="2913"/>
                  </a:lnTo>
                  <a:lnTo>
                    <a:pt x="1410" y="2936"/>
                  </a:lnTo>
                  <a:lnTo>
                    <a:pt x="1336" y="2956"/>
                  </a:lnTo>
                  <a:lnTo>
                    <a:pt x="1258" y="2970"/>
                  </a:lnTo>
                  <a:lnTo>
                    <a:pt x="1258" y="3360"/>
                  </a:lnTo>
                  <a:lnTo>
                    <a:pt x="873" y="3360"/>
                  </a:lnTo>
                  <a:lnTo>
                    <a:pt x="873" y="2986"/>
                  </a:lnTo>
                  <a:lnTo>
                    <a:pt x="791" y="2976"/>
                  </a:lnTo>
                  <a:lnTo>
                    <a:pt x="713" y="2963"/>
                  </a:lnTo>
                  <a:lnTo>
                    <a:pt x="636" y="2946"/>
                  </a:lnTo>
                  <a:lnTo>
                    <a:pt x="564" y="2924"/>
                  </a:lnTo>
                  <a:lnTo>
                    <a:pt x="494" y="2900"/>
                  </a:lnTo>
                  <a:lnTo>
                    <a:pt x="427" y="2871"/>
                  </a:lnTo>
                  <a:lnTo>
                    <a:pt x="362" y="2840"/>
                  </a:lnTo>
                  <a:lnTo>
                    <a:pt x="290" y="2799"/>
                  </a:lnTo>
                  <a:lnTo>
                    <a:pt x="223" y="2757"/>
                  </a:lnTo>
                  <a:lnTo>
                    <a:pt x="161" y="2712"/>
                  </a:lnTo>
                  <a:lnTo>
                    <a:pt x="103" y="2667"/>
                  </a:lnTo>
                  <a:lnTo>
                    <a:pt x="49" y="2619"/>
                  </a:lnTo>
                  <a:lnTo>
                    <a:pt x="0" y="2568"/>
                  </a:lnTo>
                  <a:lnTo>
                    <a:pt x="362" y="2167"/>
                  </a:lnTo>
                  <a:lnTo>
                    <a:pt x="411" y="2216"/>
                  </a:lnTo>
                  <a:lnTo>
                    <a:pt x="465" y="2262"/>
                  </a:lnTo>
                  <a:lnTo>
                    <a:pt x="525" y="2306"/>
                  </a:lnTo>
                  <a:lnTo>
                    <a:pt x="591" y="2349"/>
                  </a:lnTo>
                  <a:lnTo>
                    <a:pt x="661" y="2390"/>
                  </a:lnTo>
                  <a:lnTo>
                    <a:pt x="712" y="2414"/>
                  </a:lnTo>
                  <a:lnTo>
                    <a:pt x="764" y="2434"/>
                  </a:lnTo>
                  <a:lnTo>
                    <a:pt x="817" y="2452"/>
                  </a:lnTo>
                  <a:lnTo>
                    <a:pt x="873" y="2465"/>
                  </a:lnTo>
                  <a:lnTo>
                    <a:pt x="873" y="1871"/>
                  </a:lnTo>
                  <a:lnTo>
                    <a:pt x="828" y="1857"/>
                  </a:lnTo>
                  <a:lnTo>
                    <a:pt x="745" y="1832"/>
                  </a:lnTo>
                  <a:lnTo>
                    <a:pt x="667" y="1803"/>
                  </a:lnTo>
                  <a:lnTo>
                    <a:pt x="595" y="1772"/>
                  </a:lnTo>
                  <a:lnTo>
                    <a:pt x="526" y="1738"/>
                  </a:lnTo>
                  <a:lnTo>
                    <a:pt x="464" y="1701"/>
                  </a:lnTo>
                  <a:lnTo>
                    <a:pt x="406" y="1663"/>
                  </a:lnTo>
                  <a:lnTo>
                    <a:pt x="353" y="1621"/>
                  </a:lnTo>
                  <a:lnTo>
                    <a:pt x="305" y="1576"/>
                  </a:lnTo>
                  <a:lnTo>
                    <a:pt x="268" y="1533"/>
                  </a:lnTo>
                  <a:lnTo>
                    <a:pt x="234" y="1489"/>
                  </a:lnTo>
                  <a:lnTo>
                    <a:pt x="205" y="1441"/>
                  </a:lnTo>
                  <a:lnTo>
                    <a:pt x="180" y="1391"/>
                  </a:lnTo>
                  <a:lnTo>
                    <a:pt x="161" y="1338"/>
                  </a:lnTo>
                  <a:lnTo>
                    <a:pt x="145" y="1283"/>
                  </a:lnTo>
                  <a:lnTo>
                    <a:pt x="133" y="1225"/>
                  </a:lnTo>
                  <a:lnTo>
                    <a:pt x="127" y="1165"/>
                  </a:lnTo>
                  <a:lnTo>
                    <a:pt x="124" y="1102"/>
                  </a:lnTo>
                  <a:lnTo>
                    <a:pt x="127" y="1034"/>
                  </a:lnTo>
                  <a:lnTo>
                    <a:pt x="134" y="969"/>
                  </a:lnTo>
                  <a:lnTo>
                    <a:pt x="147" y="908"/>
                  </a:lnTo>
                  <a:lnTo>
                    <a:pt x="164" y="849"/>
                  </a:lnTo>
                  <a:lnTo>
                    <a:pt x="186" y="793"/>
                  </a:lnTo>
                  <a:lnTo>
                    <a:pt x="213" y="740"/>
                  </a:lnTo>
                  <a:lnTo>
                    <a:pt x="245" y="689"/>
                  </a:lnTo>
                  <a:lnTo>
                    <a:pt x="282" y="641"/>
                  </a:lnTo>
                  <a:lnTo>
                    <a:pt x="324" y="597"/>
                  </a:lnTo>
                  <a:lnTo>
                    <a:pt x="370" y="556"/>
                  </a:lnTo>
                  <a:lnTo>
                    <a:pt x="419" y="518"/>
                  </a:lnTo>
                  <a:lnTo>
                    <a:pt x="473" y="484"/>
                  </a:lnTo>
                  <a:lnTo>
                    <a:pt x="530" y="453"/>
                  </a:lnTo>
                  <a:lnTo>
                    <a:pt x="592" y="427"/>
                  </a:lnTo>
                  <a:lnTo>
                    <a:pt x="656" y="404"/>
                  </a:lnTo>
                  <a:lnTo>
                    <a:pt x="724" y="385"/>
                  </a:lnTo>
                  <a:lnTo>
                    <a:pt x="796" y="370"/>
                  </a:lnTo>
                  <a:lnTo>
                    <a:pt x="873" y="358"/>
                  </a:lnTo>
                  <a:lnTo>
                    <a:pt x="873" y="0"/>
                  </a:lnTo>
                  <a:close/>
                </a:path>
              </a:pathLst>
            </a:custGeom>
            <a:solidFill>
              <a:schemeClr val="bg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grpSp>
        <p:nvGrpSpPr>
          <p:cNvPr id="86" name="Group 85"/>
          <p:cNvGrpSpPr/>
          <p:nvPr/>
        </p:nvGrpSpPr>
        <p:grpSpPr>
          <a:xfrm>
            <a:off x="7043601" y="1723115"/>
            <a:ext cx="2108465" cy="2102904"/>
            <a:chOff x="6879128" y="1689482"/>
            <a:chExt cx="2067310" cy="2061858"/>
          </a:xfrm>
        </p:grpSpPr>
        <p:sp>
          <p:nvSpPr>
            <p:cNvPr id="15" name="Rectangle 14"/>
            <p:cNvSpPr/>
            <p:nvPr/>
          </p:nvSpPr>
          <p:spPr bwMode="auto">
            <a:xfrm>
              <a:off x="6879128" y="1689482"/>
              <a:ext cx="2067310" cy="2061858"/>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73041" rIns="186521" bIns="149217" numCol="1" spcCol="0" rtlCol="0" fromWordArt="0" anchor="t" anchorCtr="0" forceAA="0" compatLnSpc="1">
              <a:prstTxWarp prst="textNoShape">
                <a:avLst/>
              </a:prstTxWarp>
              <a:noAutofit/>
            </a:bodyPr>
            <a:lstStyle/>
            <a:p>
              <a:pPr defTabSz="685833" fontAlgn="base">
                <a:spcBef>
                  <a:spcPct val="0"/>
                </a:spcBef>
                <a:spcAft>
                  <a:spcPct val="0"/>
                </a:spcAft>
              </a:pPr>
              <a:endParaRPr lang="en-US" sz="1122" i="1" dirty="0">
                <a:solidFill>
                  <a:srgbClr val="FFFFFF"/>
                </a:solidFill>
              </a:endParaRPr>
            </a:p>
          </p:txBody>
        </p:sp>
        <p:sp>
          <p:nvSpPr>
            <p:cNvPr id="23" name="Rectangle 22"/>
            <p:cNvSpPr/>
            <p:nvPr/>
          </p:nvSpPr>
          <p:spPr>
            <a:xfrm>
              <a:off x="6965739" y="1769528"/>
              <a:ext cx="748923" cy="374846"/>
            </a:xfrm>
            <a:prstGeom prst="rect">
              <a:avLst/>
            </a:prstGeom>
          </p:spPr>
          <p:txBody>
            <a:bodyPr wrap="none">
              <a:spAutoFit/>
            </a:bodyPr>
            <a:lstStyle/>
            <a:p>
              <a:pPr defTabSz="932597"/>
              <a:r>
                <a:rPr lang="en-US" sz="1836" b="1" dirty="0">
                  <a:solidFill>
                    <a:srgbClr val="FFFFFF"/>
                  </a:solidFill>
                </a:rPr>
                <a:t>Scale</a:t>
              </a:r>
              <a:endParaRPr lang="en-US" sz="1836" dirty="0">
                <a:solidFill>
                  <a:srgbClr val="FFFFFF"/>
                </a:solidFill>
              </a:endParaRPr>
            </a:p>
          </p:txBody>
        </p:sp>
        <p:sp>
          <p:nvSpPr>
            <p:cNvPr id="70" name="Rectangle 69"/>
            <p:cNvSpPr/>
            <p:nvPr/>
          </p:nvSpPr>
          <p:spPr>
            <a:xfrm>
              <a:off x="6972797" y="2377066"/>
              <a:ext cx="1816361" cy="1015663"/>
            </a:xfrm>
            <a:prstGeom prst="rect">
              <a:avLst/>
            </a:prstGeom>
          </p:spPr>
          <p:txBody>
            <a:bodyPr wrap="square">
              <a:spAutoFit/>
            </a:bodyPr>
            <a:lstStyle/>
            <a:p>
              <a:pPr defTabSz="685833" fontAlgn="base">
                <a:lnSpc>
                  <a:spcPts val="3570"/>
                </a:lnSpc>
              </a:pPr>
              <a:r>
                <a:rPr lang="en-US" sz="3570" dirty="0">
                  <a:solidFill>
                    <a:srgbClr val="FFFFFF"/>
                  </a:solidFill>
                  <a:latin typeface="Segoe UI Light"/>
                </a:rPr>
                <a:t>30,000</a:t>
              </a:r>
              <a:r>
                <a:rPr lang="en-US" sz="1224" dirty="0">
                  <a:solidFill>
                    <a:srgbClr val="FFFFFF"/>
                  </a:solidFill>
                </a:rPr>
                <a:t> to </a:t>
              </a:r>
              <a:br>
                <a:rPr lang="en-US" sz="1224" dirty="0">
                  <a:solidFill>
                    <a:srgbClr val="FFFFFF"/>
                  </a:solidFill>
                </a:rPr>
              </a:br>
              <a:r>
                <a:rPr lang="en-US" sz="3570" dirty="0">
                  <a:solidFill>
                    <a:srgbClr val="FFFFFF"/>
                  </a:solidFill>
                  <a:latin typeface="Segoe UI Light"/>
                </a:rPr>
                <a:t>250,000</a:t>
              </a:r>
              <a:r>
                <a:rPr lang="en-US" sz="1224" dirty="0">
                  <a:solidFill>
                    <a:srgbClr val="FFFFFF"/>
                  </a:solidFill>
                </a:rPr>
                <a:t> </a:t>
              </a:r>
              <a:endParaRPr lang="en-US" sz="1122" i="1" dirty="0">
                <a:solidFill>
                  <a:srgbClr val="FFFFFF"/>
                </a:solidFill>
              </a:endParaRPr>
            </a:p>
          </p:txBody>
        </p:sp>
        <p:sp>
          <p:nvSpPr>
            <p:cNvPr id="71" name="Rectangle 70"/>
            <p:cNvSpPr/>
            <p:nvPr/>
          </p:nvSpPr>
          <p:spPr>
            <a:xfrm>
              <a:off x="6983430" y="2157646"/>
              <a:ext cx="901961" cy="275239"/>
            </a:xfrm>
            <a:prstGeom prst="rect">
              <a:avLst/>
            </a:prstGeom>
          </p:spPr>
          <p:txBody>
            <a:bodyPr wrap="square">
              <a:spAutoFit/>
            </a:bodyPr>
            <a:lstStyle/>
            <a:p>
              <a:pPr defTabSz="932597"/>
              <a:r>
                <a:rPr lang="en-US" sz="1224" dirty="0">
                  <a:solidFill>
                    <a:srgbClr val="FFFFFF"/>
                  </a:solidFill>
                </a:rPr>
                <a:t>Scale from</a:t>
              </a:r>
              <a:endParaRPr lang="en-US" sz="1836" dirty="0">
                <a:solidFill>
                  <a:srgbClr val="00B0F0"/>
                </a:solidFill>
              </a:endParaRPr>
            </a:p>
          </p:txBody>
        </p:sp>
        <p:sp>
          <p:nvSpPr>
            <p:cNvPr id="72" name="Rectangle 71"/>
            <p:cNvSpPr/>
            <p:nvPr/>
          </p:nvSpPr>
          <p:spPr>
            <a:xfrm>
              <a:off x="6972797" y="3212466"/>
              <a:ext cx="1897750" cy="460447"/>
            </a:xfrm>
            <a:prstGeom prst="rect">
              <a:avLst/>
            </a:prstGeom>
          </p:spPr>
          <p:txBody>
            <a:bodyPr wrap="square">
              <a:spAutoFit/>
            </a:bodyPr>
            <a:lstStyle/>
            <a:p>
              <a:pPr defTabSz="685833" fontAlgn="base">
                <a:spcBef>
                  <a:spcPct val="0"/>
                </a:spcBef>
                <a:spcAft>
                  <a:spcPct val="0"/>
                </a:spcAft>
              </a:pPr>
              <a:r>
                <a:rPr lang="en-US" sz="1224" dirty="0">
                  <a:solidFill>
                    <a:srgbClr val="FFFFFF"/>
                  </a:solidFill>
                </a:rPr>
                <a:t>site visitors instantly</a:t>
              </a:r>
            </a:p>
            <a:p>
              <a:pPr defTabSz="685833" fontAlgn="base">
                <a:spcBef>
                  <a:spcPts val="306"/>
                </a:spcBef>
                <a:spcAft>
                  <a:spcPct val="0"/>
                </a:spcAft>
              </a:pPr>
              <a:r>
                <a:rPr lang="en-US" sz="918" dirty="0">
                  <a:solidFill>
                    <a:srgbClr val="FFFFFF">
                      <a:alpha val="60000"/>
                    </a:srgbClr>
                  </a:solidFill>
                </a:rPr>
                <a:t>(Case Study: Autocosmos)</a:t>
              </a:r>
            </a:p>
          </p:txBody>
        </p:sp>
        <p:grpSp>
          <p:nvGrpSpPr>
            <p:cNvPr id="84" name="Group 83"/>
            <p:cNvGrpSpPr/>
            <p:nvPr/>
          </p:nvGrpSpPr>
          <p:grpSpPr>
            <a:xfrm>
              <a:off x="8383294" y="1793165"/>
              <a:ext cx="378986" cy="374080"/>
              <a:chOff x="8293215" y="1775355"/>
              <a:chExt cx="411397" cy="406072"/>
            </a:xfrm>
          </p:grpSpPr>
          <p:sp>
            <p:nvSpPr>
              <p:cNvPr id="82" name="Rounded Rectangle 81"/>
              <p:cNvSpPr/>
              <p:nvPr/>
            </p:nvSpPr>
            <p:spPr>
              <a:xfrm>
                <a:off x="8393377" y="1775355"/>
                <a:ext cx="311235" cy="311235"/>
              </a:xfrm>
              <a:prstGeom prst="roundRect">
                <a:avLst>
                  <a:gd name="adj" fmla="val 11881"/>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80" name="Rounded Rectangle 79"/>
              <p:cNvSpPr/>
              <p:nvPr/>
            </p:nvSpPr>
            <p:spPr>
              <a:xfrm>
                <a:off x="8293215" y="1947510"/>
                <a:ext cx="233916" cy="23391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cxnSp>
            <p:nvCxnSpPr>
              <p:cNvPr id="83" name="Straight Arrow Connector 82"/>
              <p:cNvCxnSpPr/>
              <p:nvPr/>
            </p:nvCxnSpPr>
            <p:spPr>
              <a:xfrm flipV="1">
                <a:off x="8442338" y="1865950"/>
                <a:ext cx="160317" cy="160317"/>
              </a:xfrm>
              <a:prstGeom prst="straightConnector1">
                <a:avLst/>
              </a:prstGeom>
              <a:ln w="41275">
                <a:solidFill>
                  <a:schemeClr val="bg1"/>
                </a:soli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grpSp>
      </p:grpSp>
      <p:grpSp>
        <p:nvGrpSpPr>
          <p:cNvPr id="87" name="Group 86"/>
          <p:cNvGrpSpPr/>
          <p:nvPr/>
        </p:nvGrpSpPr>
        <p:grpSpPr>
          <a:xfrm>
            <a:off x="4935138" y="1723115"/>
            <a:ext cx="2108465" cy="2102904"/>
            <a:chOff x="4811820" y="1689482"/>
            <a:chExt cx="2067310" cy="2061858"/>
          </a:xfrm>
        </p:grpSpPr>
        <p:sp>
          <p:nvSpPr>
            <p:cNvPr id="12" name="Rectangle 11"/>
            <p:cNvSpPr/>
            <p:nvPr/>
          </p:nvSpPr>
          <p:spPr bwMode="auto">
            <a:xfrm>
              <a:off x="4811820" y="1689482"/>
              <a:ext cx="2067310" cy="2061858"/>
            </a:xfrm>
            <a:prstGeom prst="rect">
              <a:avLst/>
            </a:pr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73041" rIns="186521" bIns="149217" numCol="1" spcCol="0" rtlCol="0" fromWordArt="0" anchor="b" anchorCtr="0" forceAA="0" compatLnSpc="1">
              <a:prstTxWarp prst="textNoShape">
                <a:avLst/>
              </a:prstTxWarp>
              <a:noAutofit/>
            </a:bodyPr>
            <a:lstStyle/>
            <a:p>
              <a:pPr defTabSz="685833" fontAlgn="base">
                <a:spcBef>
                  <a:spcPct val="0"/>
                </a:spcBef>
                <a:spcAft>
                  <a:spcPct val="0"/>
                </a:spcAft>
              </a:pPr>
              <a:r>
                <a:rPr lang="en-US" sz="3570" dirty="0">
                  <a:solidFill>
                    <a:srgbClr val="FFFFFF"/>
                  </a:solidFill>
                  <a:latin typeface="Segoe UI Light"/>
                </a:rPr>
                <a:t>2</a:t>
              </a:r>
              <a:r>
                <a:rPr lang="en-US" sz="2040" dirty="0">
                  <a:solidFill>
                    <a:srgbClr val="FFFFFF"/>
                  </a:solidFill>
                  <a:latin typeface="Segoe UI Light"/>
                </a:rPr>
                <a:t> </a:t>
              </a:r>
              <a:r>
                <a:rPr lang="en-US" sz="3570" dirty="0">
                  <a:solidFill>
                    <a:srgbClr val="FFFFFF"/>
                  </a:solidFill>
                  <a:latin typeface="Segoe UI Light"/>
                </a:rPr>
                <a:t>weeks</a:t>
              </a:r>
            </a:p>
            <a:p>
              <a:pPr defTabSz="685833" fontAlgn="base">
                <a:spcBef>
                  <a:spcPct val="0"/>
                </a:spcBef>
                <a:spcAft>
                  <a:spcPct val="0"/>
                </a:spcAft>
              </a:pPr>
              <a:r>
                <a:rPr lang="en-US" sz="1224" dirty="0">
                  <a:solidFill>
                    <a:srgbClr val="FFFFFF"/>
                  </a:solidFill>
                </a:rPr>
                <a:t>to deliver new services vs. 6-12 months with traditional solution</a:t>
              </a:r>
            </a:p>
            <a:p>
              <a:pPr defTabSz="685833" fontAlgn="base">
                <a:spcBef>
                  <a:spcPts val="306"/>
                </a:spcBef>
                <a:spcAft>
                  <a:spcPct val="0"/>
                </a:spcAft>
              </a:pPr>
              <a:r>
                <a:rPr lang="en-US" sz="918" dirty="0">
                  <a:solidFill>
                    <a:srgbClr val="FFFFFF">
                      <a:alpha val="60000"/>
                    </a:srgbClr>
                  </a:solidFill>
                </a:rPr>
                <a:t>(Case Study: HarperCollins Publishers)</a:t>
              </a:r>
            </a:p>
          </p:txBody>
        </p:sp>
        <p:sp>
          <p:nvSpPr>
            <p:cNvPr id="8" name="Rectangle 7"/>
            <p:cNvSpPr/>
            <p:nvPr/>
          </p:nvSpPr>
          <p:spPr>
            <a:xfrm>
              <a:off x="4904920" y="1769528"/>
              <a:ext cx="861133" cy="374846"/>
            </a:xfrm>
            <a:prstGeom prst="rect">
              <a:avLst/>
            </a:prstGeom>
          </p:spPr>
          <p:txBody>
            <a:bodyPr wrap="none">
              <a:spAutoFit/>
            </a:bodyPr>
            <a:lstStyle/>
            <a:p>
              <a:pPr defTabSz="932597"/>
              <a:r>
                <a:rPr lang="en-US" sz="1836" b="1" dirty="0">
                  <a:solidFill>
                    <a:srgbClr val="FFFFFF"/>
                  </a:solidFill>
                </a:rPr>
                <a:t>Speed</a:t>
              </a:r>
              <a:endParaRPr lang="en-US" sz="1836" dirty="0">
                <a:solidFill>
                  <a:srgbClr val="FFFFFF"/>
                </a:solidFill>
              </a:endParaRPr>
            </a:p>
          </p:txBody>
        </p:sp>
        <p:pic>
          <p:nvPicPr>
            <p:cNvPr id="1035" name="Picture 11" descr="http://jackwmorgan.com/wp-content/uploads/2013/05/speedometer-icon.pn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41564" t="28066" r="41266" b="22310"/>
            <a:stretch/>
          </p:blipFill>
          <p:spPr bwMode="auto">
            <a:xfrm>
              <a:off x="6230983" y="1776547"/>
              <a:ext cx="522515" cy="354794"/>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Rectangle 93"/>
          <p:cNvSpPr/>
          <p:nvPr/>
        </p:nvSpPr>
        <p:spPr>
          <a:xfrm>
            <a:off x="4797127" y="0"/>
            <a:ext cx="6594838" cy="1706716"/>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sp>
        <p:nvSpPr>
          <p:cNvPr id="9" name="Freeform 25"/>
          <p:cNvSpPr>
            <a:spLocks/>
          </p:cNvSpPr>
          <p:nvPr/>
        </p:nvSpPr>
        <p:spPr bwMode="auto">
          <a:xfrm>
            <a:off x="-1186986" y="1636489"/>
            <a:ext cx="5516818" cy="3569382"/>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62" name="Rectangle 61"/>
          <p:cNvSpPr/>
          <p:nvPr/>
        </p:nvSpPr>
        <p:spPr>
          <a:xfrm>
            <a:off x="390626" y="6319431"/>
            <a:ext cx="1906965" cy="549819"/>
          </a:xfrm>
          <a:prstGeom prst="rect">
            <a:avLst/>
          </a:prstGeom>
          <a:solidFill>
            <a:srgbClr val="0171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grpSp>
        <p:nvGrpSpPr>
          <p:cNvPr id="69" name="Group 68"/>
          <p:cNvGrpSpPr/>
          <p:nvPr/>
        </p:nvGrpSpPr>
        <p:grpSpPr>
          <a:xfrm>
            <a:off x="-373811" y="6485280"/>
            <a:ext cx="6108876" cy="1272615"/>
            <a:chOff x="-2182528" y="7627937"/>
            <a:chExt cx="5989638" cy="1247775"/>
          </a:xfrm>
        </p:grpSpPr>
        <p:sp>
          <p:nvSpPr>
            <p:cNvPr id="65" name="Freeform 19"/>
            <p:cNvSpPr>
              <a:spLocks/>
            </p:cNvSpPr>
            <p:nvPr/>
          </p:nvSpPr>
          <p:spPr bwMode="auto">
            <a:xfrm>
              <a:off x="-2182528" y="7627937"/>
              <a:ext cx="5989638" cy="1247775"/>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66" name="Freeform 20"/>
            <p:cNvSpPr>
              <a:spLocks/>
            </p:cNvSpPr>
            <p:nvPr/>
          </p:nvSpPr>
          <p:spPr bwMode="auto">
            <a:xfrm>
              <a:off x="-1049053" y="7631112"/>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67" name="Freeform 21"/>
            <p:cNvSpPr>
              <a:spLocks/>
            </p:cNvSpPr>
            <p:nvPr/>
          </p:nvSpPr>
          <p:spPr bwMode="auto">
            <a:xfrm>
              <a:off x="1298860" y="7770812"/>
              <a:ext cx="701675"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68" name="Freeform 22"/>
            <p:cNvSpPr>
              <a:spLocks/>
            </p:cNvSpPr>
            <p:nvPr/>
          </p:nvSpPr>
          <p:spPr bwMode="auto">
            <a:xfrm>
              <a:off x="-650590" y="7634287"/>
              <a:ext cx="257651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56" name="Rectangle 55"/>
          <p:cNvSpPr/>
          <p:nvPr/>
        </p:nvSpPr>
        <p:spPr bwMode="auto">
          <a:xfrm>
            <a:off x="488062" y="5774933"/>
            <a:ext cx="2322713" cy="1219594"/>
          </a:xfrm>
          <a:prstGeom prst="rect">
            <a:avLst/>
          </a:prstGeom>
          <a:solidFill>
            <a:schemeClr val="bg1">
              <a:alpha val="1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2722816" y="5985380"/>
            <a:ext cx="618221" cy="1009145"/>
            <a:chOff x="2668806" y="5868553"/>
            <a:chExt cx="606154" cy="989448"/>
          </a:xfrm>
        </p:grpSpPr>
        <p:sp>
          <p:nvSpPr>
            <p:cNvPr id="55" name="Rectangle 54"/>
            <p:cNvSpPr/>
            <p:nvPr/>
          </p:nvSpPr>
          <p:spPr bwMode="auto">
            <a:xfrm>
              <a:off x="2668806" y="5977719"/>
              <a:ext cx="606154" cy="880282"/>
            </a:xfrm>
            <a:prstGeom prst="rect">
              <a:avLst/>
            </a:prstGeom>
            <a:solidFill>
              <a:schemeClr val="bg1">
                <a:alpha val="1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22"/>
            <p:cNvSpPr>
              <a:spLocks noChangeArrowheads="1"/>
            </p:cNvSpPr>
            <p:nvPr/>
          </p:nvSpPr>
          <p:spPr bwMode="auto">
            <a:xfrm>
              <a:off x="3002982" y="5868553"/>
              <a:ext cx="102986" cy="110854"/>
            </a:xfrm>
            <a:prstGeom prst="rect">
              <a:avLst/>
            </a:prstGeom>
            <a:solidFill>
              <a:schemeClr val="bg1">
                <a:alpha val="19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58" name="Rectangle 23"/>
            <p:cNvSpPr>
              <a:spLocks noChangeArrowheads="1"/>
            </p:cNvSpPr>
            <p:nvPr/>
          </p:nvSpPr>
          <p:spPr bwMode="auto">
            <a:xfrm>
              <a:off x="2864886" y="5868553"/>
              <a:ext cx="102986" cy="110854"/>
            </a:xfrm>
            <a:prstGeom prst="rect">
              <a:avLst/>
            </a:prstGeom>
            <a:solidFill>
              <a:schemeClr val="bg1">
                <a:alpha val="19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4" name="Title 3"/>
          <p:cNvSpPr>
            <a:spLocks noGrp="1"/>
          </p:cNvSpPr>
          <p:nvPr>
            <p:ph type="title"/>
          </p:nvPr>
        </p:nvSpPr>
        <p:spPr>
          <a:xfrm>
            <a:off x="572843" y="364150"/>
            <a:ext cx="11746754" cy="860759"/>
          </a:xfrm>
        </p:spPr>
        <p:txBody>
          <a:bodyPr>
            <a:noAutofit/>
          </a:bodyPr>
          <a:lstStyle/>
          <a:p>
            <a:r>
              <a:rPr lang="en-US" sz="4896" dirty="0"/>
              <a:t>Technology trends: driving cloud adoption</a:t>
            </a:r>
          </a:p>
        </p:txBody>
      </p:sp>
      <p:sp>
        <p:nvSpPr>
          <p:cNvPr id="3" name="Slide Number Placeholder 2"/>
          <p:cNvSpPr>
            <a:spLocks noGrp="1"/>
          </p:cNvSpPr>
          <p:nvPr>
            <p:ph type="sldNum" sz="quarter" idx="12"/>
          </p:nvPr>
        </p:nvSpPr>
        <p:spPr>
          <a:xfrm>
            <a:off x="11260531" y="6344567"/>
            <a:ext cx="667195" cy="372394"/>
          </a:xfrm>
        </p:spPr>
        <p:txBody>
          <a:bodyPr/>
          <a:lstStyle/>
          <a:p>
            <a:fld id="{0A164282-434E-41D4-9582-783D542A7B68}" type="slidenum">
              <a:rPr lang="en-US" smtClean="0"/>
              <a:pPr/>
              <a:t>3</a:t>
            </a:fld>
            <a:endParaRPr lang="en-US" dirty="0"/>
          </a:p>
        </p:txBody>
      </p:sp>
      <p:grpSp>
        <p:nvGrpSpPr>
          <p:cNvPr id="93" name="Group 92"/>
          <p:cNvGrpSpPr/>
          <p:nvPr/>
        </p:nvGrpSpPr>
        <p:grpSpPr>
          <a:xfrm>
            <a:off x="386271" y="2360458"/>
            <a:ext cx="3386780" cy="2600439"/>
            <a:chOff x="377867" y="2314385"/>
            <a:chExt cx="3320674" cy="2549681"/>
          </a:xfrm>
        </p:grpSpPr>
        <p:sp>
          <p:nvSpPr>
            <p:cNvPr id="18" name="Rectangle 17"/>
            <p:cNvSpPr/>
            <p:nvPr/>
          </p:nvSpPr>
          <p:spPr>
            <a:xfrm>
              <a:off x="389831" y="3864433"/>
              <a:ext cx="3049402" cy="999633"/>
            </a:xfrm>
            <a:prstGeom prst="rect">
              <a:avLst/>
            </a:prstGeom>
          </p:spPr>
          <p:txBody>
            <a:bodyPr wrap="square">
              <a:spAutoFit/>
            </a:bodyPr>
            <a:lstStyle/>
            <a:p>
              <a:pPr defTabSz="932597">
                <a:spcBef>
                  <a:spcPts val="612"/>
                </a:spcBef>
                <a:spcAft>
                  <a:spcPts val="612"/>
                </a:spcAft>
              </a:pPr>
              <a:r>
                <a:rPr lang="en-US" sz="1836" dirty="0">
                  <a:solidFill>
                    <a:srgbClr val="44546A"/>
                  </a:solidFill>
                </a:rPr>
                <a:t>of CIOs will embrace a cloud-first strategy in 2016</a:t>
              </a:r>
            </a:p>
            <a:p>
              <a:pPr defTabSz="932597">
                <a:spcBef>
                  <a:spcPts val="612"/>
                </a:spcBef>
                <a:spcAft>
                  <a:spcPts val="612"/>
                </a:spcAft>
              </a:pPr>
              <a:r>
                <a:rPr lang="en-US" sz="1224" dirty="0">
                  <a:solidFill>
                    <a:srgbClr val="44546A">
                      <a:lumMod val="40000"/>
                      <a:lumOff val="60000"/>
                    </a:srgbClr>
                  </a:solidFill>
                </a:rPr>
                <a:t>(IDC CIO Agenda webinar)</a:t>
              </a:r>
            </a:p>
          </p:txBody>
        </p:sp>
        <p:sp>
          <p:nvSpPr>
            <p:cNvPr id="5" name="Rectangle 4"/>
            <p:cNvSpPr/>
            <p:nvPr/>
          </p:nvSpPr>
          <p:spPr>
            <a:xfrm>
              <a:off x="380761" y="2314385"/>
              <a:ext cx="1744517" cy="406265"/>
            </a:xfrm>
            <a:prstGeom prst="rect">
              <a:avLst/>
            </a:prstGeom>
          </p:spPr>
          <p:txBody>
            <a:bodyPr wrap="none">
              <a:spAutoFit/>
            </a:bodyPr>
            <a:lstStyle/>
            <a:p>
              <a:pPr defTabSz="932597"/>
              <a:r>
                <a:rPr lang="en-US" sz="2040" b="1" dirty="0">
                  <a:solidFill>
                    <a:srgbClr val="00B0F0"/>
                  </a:solidFill>
                </a:rPr>
                <a:t>Cloud Trend:</a:t>
              </a:r>
              <a:endParaRPr lang="en-US" sz="2040" dirty="0">
                <a:solidFill>
                  <a:srgbClr val="00B0F0"/>
                </a:solidFill>
              </a:endParaRPr>
            </a:p>
          </p:txBody>
        </p:sp>
        <p:sp>
          <p:nvSpPr>
            <p:cNvPr id="6" name="Rectangle 5"/>
            <p:cNvSpPr/>
            <p:nvPr/>
          </p:nvSpPr>
          <p:spPr>
            <a:xfrm>
              <a:off x="377867" y="2341582"/>
              <a:ext cx="3320674" cy="1897314"/>
            </a:xfrm>
            <a:prstGeom prst="rect">
              <a:avLst/>
            </a:prstGeom>
          </p:spPr>
          <p:txBody>
            <a:bodyPr wrap="square">
              <a:spAutoFit/>
            </a:bodyPr>
            <a:lstStyle/>
            <a:p>
              <a:pPr defTabSz="932597"/>
              <a:r>
                <a:rPr lang="en-US" sz="11729" spc="-306" dirty="0">
                  <a:solidFill>
                    <a:srgbClr val="00B0F0"/>
                  </a:solidFill>
                  <a:latin typeface="Segoe UI Light"/>
                </a:rPr>
                <a:t>70%</a:t>
              </a:r>
            </a:p>
          </p:txBody>
        </p:sp>
      </p:grpSp>
      <p:grpSp>
        <p:nvGrpSpPr>
          <p:cNvPr id="92" name="Group 91"/>
          <p:cNvGrpSpPr/>
          <p:nvPr/>
        </p:nvGrpSpPr>
        <p:grpSpPr>
          <a:xfrm>
            <a:off x="4941097" y="1330031"/>
            <a:ext cx="6305512" cy="382308"/>
            <a:chOff x="4817662" y="1304071"/>
            <a:chExt cx="6182436" cy="374846"/>
          </a:xfrm>
        </p:grpSpPr>
        <p:cxnSp>
          <p:nvCxnSpPr>
            <p:cNvPr id="27" name="Straight Connector 26"/>
            <p:cNvCxnSpPr/>
            <p:nvPr/>
          </p:nvCxnSpPr>
          <p:spPr>
            <a:xfrm>
              <a:off x="4817662" y="1469192"/>
              <a:ext cx="6182436"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138571" y="1304071"/>
              <a:ext cx="1514112" cy="374846"/>
            </a:xfrm>
            <a:prstGeom prst="rect">
              <a:avLst/>
            </a:prstGeom>
            <a:solidFill>
              <a:srgbClr val="0171B0"/>
            </a:solidFill>
          </p:spPr>
          <p:txBody>
            <a:bodyPr wrap="square">
              <a:spAutoFit/>
            </a:bodyPr>
            <a:lstStyle/>
            <a:p>
              <a:pPr algn="ctr" defTabSz="932597">
                <a:spcAft>
                  <a:spcPts val="612"/>
                </a:spcAft>
              </a:pPr>
              <a:r>
                <a:rPr lang="en-US" sz="1836" b="1" spc="102" dirty="0">
                  <a:solidFill>
                    <a:srgbClr val="FFFFFF"/>
                  </a:solidFill>
                </a:rPr>
                <a:t>BENEFITS</a:t>
              </a:r>
              <a:endParaRPr lang="en-US" sz="2856" b="1" spc="102" dirty="0">
                <a:solidFill>
                  <a:srgbClr val="FFFFFF"/>
                </a:solidFill>
              </a:endParaRPr>
            </a:p>
          </p:txBody>
        </p:sp>
      </p:grpSp>
      <p:grpSp>
        <p:nvGrpSpPr>
          <p:cNvPr id="91" name="Group 90"/>
          <p:cNvGrpSpPr/>
          <p:nvPr/>
        </p:nvGrpSpPr>
        <p:grpSpPr>
          <a:xfrm>
            <a:off x="4941097" y="6050355"/>
            <a:ext cx="6305512" cy="374846"/>
            <a:chOff x="4817662" y="5932250"/>
            <a:chExt cx="6182436" cy="367529"/>
          </a:xfrm>
        </p:grpSpPr>
        <p:cxnSp>
          <p:nvCxnSpPr>
            <p:cNvPr id="28" name="Straight Connector 27"/>
            <p:cNvCxnSpPr/>
            <p:nvPr/>
          </p:nvCxnSpPr>
          <p:spPr>
            <a:xfrm>
              <a:off x="4817662" y="6097371"/>
              <a:ext cx="6182436"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978511" y="5932250"/>
              <a:ext cx="4033904" cy="367529"/>
            </a:xfrm>
            <a:prstGeom prst="rect">
              <a:avLst/>
            </a:prstGeom>
            <a:solidFill>
              <a:srgbClr val="0171B0"/>
            </a:solidFill>
          </p:spPr>
          <p:txBody>
            <a:bodyPr wrap="square">
              <a:spAutoFit/>
            </a:bodyPr>
            <a:lstStyle/>
            <a:p>
              <a:pPr algn="ctr" defTabSz="932597">
                <a:spcAft>
                  <a:spcPts val="612"/>
                </a:spcAft>
              </a:pPr>
              <a:r>
                <a:rPr lang="en-US" sz="1836" b="1" spc="102" dirty="0" smtClean="0">
                  <a:solidFill>
                    <a:srgbClr val="FFFFFF"/>
                  </a:solidFill>
                </a:rPr>
                <a:t>MICROSOFT AZURE </a:t>
              </a:r>
              <a:r>
                <a:rPr lang="en-US" sz="1836" b="1" spc="102" dirty="0">
                  <a:solidFill>
                    <a:srgbClr val="FFFFFF"/>
                  </a:solidFill>
                </a:rPr>
                <a:t>ADOPTION</a:t>
              </a:r>
              <a:endParaRPr lang="en-US" sz="2856" b="1" spc="102" dirty="0">
                <a:solidFill>
                  <a:srgbClr val="FFFFFF"/>
                </a:solidFill>
              </a:endParaRPr>
            </a:p>
          </p:txBody>
        </p:sp>
      </p:grpSp>
      <p:grpSp>
        <p:nvGrpSpPr>
          <p:cNvPr id="36" name="Group 35"/>
          <p:cNvGrpSpPr/>
          <p:nvPr/>
        </p:nvGrpSpPr>
        <p:grpSpPr>
          <a:xfrm>
            <a:off x="882" y="6072879"/>
            <a:ext cx="1067899" cy="926627"/>
            <a:chOff x="2947" y="5940696"/>
            <a:chExt cx="1047055" cy="908540"/>
          </a:xfrm>
        </p:grpSpPr>
        <p:sp>
          <p:nvSpPr>
            <p:cNvPr id="37" name="Rectangle 6"/>
            <p:cNvSpPr>
              <a:spLocks noChangeArrowheads="1"/>
            </p:cNvSpPr>
            <p:nvPr/>
          </p:nvSpPr>
          <p:spPr bwMode="auto">
            <a:xfrm>
              <a:off x="2947" y="5982400"/>
              <a:ext cx="993437" cy="866836"/>
            </a:xfrm>
            <a:prstGeom prst="rect">
              <a:avLst/>
            </a:prstGeom>
            <a:solidFill>
              <a:schemeClr val="accent2"/>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8" name="Rectangle 7"/>
            <p:cNvSpPr>
              <a:spLocks noChangeArrowheads="1"/>
            </p:cNvSpPr>
            <p:nvPr/>
          </p:nvSpPr>
          <p:spPr bwMode="auto">
            <a:xfrm>
              <a:off x="2947" y="5940696"/>
              <a:ext cx="1047055" cy="4170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39" name="Rectangle 8"/>
            <p:cNvSpPr>
              <a:spLocks noChangeArrowheads="1"/>
            </p:cNvSpPr>
            <p:nvPr/>
          </p:nvSpPr>
          <p:spPr bwMode="auto">
            <a:xfrm>
              <a:off x="503389" y="6572206"/>
              <a:ext cx="142983" cy="277030"/>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0" name="Rectangle 9"/>
            <p:cNvSpPr>
              <a:spLocks noChangeArrowheads="1"/>
            </p:cNvSpPr>
            <p:nvPr/>
          </p:nvSpPr>
          <p:spPr bwMode="auto">
            <a:xfrm>
              <a:off x="259125" y="6572206"/>
              <a:ext cx="140004" cy="277030"/>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1" name="Rectangle 10"/>
            <p:cNvSpPr>
              <a:spLocks noChangeArrowheads="1"/>
            </p:cNvSpPr>
            <p:nvPr/>
          </p:nvSpPr>
          <p:spPr bwMode="auto">
            <a:xfrm>
              <a:off x="11883" y="6098574"/>
              <a:ext cx="883220" cy="140004"/>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2" name="Rectangle 11"/>
            <p:cNvSpPr>
              <a:spLocks noChangeArrowheads="1"/>
            </p:cNvSpPr>
            <p:nvPr/>
          </p:nvSpPr>
          <p:spPr bwMode="auto">
            <a:xfrm>
              <a:off x="11883" y="6342837"/>
              <a:ext cx="883220" cy="14298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grpSp>
        <p:nvGrpSpPr>
          <p:cNvPr id="43" name="Group 42"/>
          <p:cNvGrpSpPr/>
          <p:nvPr/>
        </p:nvGrpSpPr>
        <p:grpSpPr>
          <a:xfrm>
            <a:off x="1107435" y="5399286"/>
            <a:ext cx="1225882" cy="1600220"/>
            <a:chOff x="1057662" y="5280250"/>
            <a:chExt cx="1201954" cy="1568986"/>
          </a:xfrm>
        </p:grpSpPr>
        <p:sp>
          <p:nvSpPr>
            <p:cNvPr id="44" name="Rectangle 12"/>
            <p:cNvSpPr>
              <a:spLocks noChangeArrowheads="1"/>
            </p:cNvSpPr>
            <p:nvPr/>
          </p:nvSpPr>
          <p:spPr bwMode="auto">
            <a:xfrm>
              <a:off x="1114259" y="5491108"/>
              <a:ext cx="1091738" cy="1358127"/>
            </a:xfrm>
            <a:prstGeom prst="rect">
              <a:avLst/>
            </a:prstGeom>
            <a:solidFill>
              <a:schemeClr val="accent2"/>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5" name="Rectangle 13"/>
            <p:cNvSpPr>
              <a:spLocks noChangeArrowheads="1"/>
            </p:cNvSpPr>
            <p:nvPr/>
          </p:nvSpPr>
          <p:spPr bwMode="auto">
            <a:xfrm>
              <a:off x="1057662" y="5450043"/>
              <a:ext cx="1201954" cy="4170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6" name="Rectangle 14"/>
            <p:cNvSpPr>
              <a:spLocks noChangeArrowheads="1"/>
            </p:cNvSpPr>
            <p:nvPr/>
          </p:nvSpPr>
          <p:spPr bwMode="auto">
            <a:xfrm>
              <a:off x="1714491" y="6572206"/>
              <a:ext cx="142983" cy="277030"/>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7" name="Rectangle 15"/>
            <p:cNvSpPr>
              <a:spLocks noChangeArrowheads="1"/>
            </p:cNvSpPr>
            <p:nvPr/>
          </p:nvSpPr>
          <p:spPr bwMode="auto">
            <a:xfrm>
              <a:off x="1465760" y="6572206"/>
              <a:ext cx="142983" cy="277030"/>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8" name="Rectangle 16"/>
            <p:cNvSpPr>
              <a:spLocks noChangeArrowheads="1"/>
            </p:cNvSpPr>
            <p:nvPr/>
          </p:nvSpPr>
          <p:spPr bwMode="auto">
            <a:xfrm>
              <a:off x="1221497" y="5608558"/>
              <a:ext cx="883220" cy="14298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49" name="Rectangle 17"/>
            <p:cNvSpPr>
              <a:spLocks noChangeArrowheads="1"/>
            </p:cNvSpPr>
            <p:nvPr/>
          </p:nvSpPr>
          <p:spPr bwMode="auto">
            <a:xfrm>
              <a:off x="1221497" y="5851332"/>
              <a:ext cx="883220" cy="14298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50" name="Rectangle 18"/>
            <p:cNvSpPr>
              <a:spLocks noChangeArrowheads="1"/>
            </p:cNvSpPr>
            <p:nvPr/>
          </p:nvSpPr>
          <p:spPr bwMode="auto">
            <a:xfrm>
              <a:off x="1221497" y="6098574"/>
              <a:ext cx="883220" cy="140004"/>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51" name="Rectangle 19"/>
            <p:cNvSpPr>
              <a:spLocks noChangeArrowheads="1"/>
            </p:cNvSpPr>
            <p:nvPr/>
          </p:nvSpPr>
          <p:spPr bwMode="auto">
            <a:xfrm>
              <a:off x="1221497" y="6342837"/>
              <a:ext cx="883220" cy="14298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52" name="Rectangle 22"/>
            <p:cNvSpPr>
              <a:spLocks noChangeArrowheads="1"/>
            </p:cNvSpPr>
            <p:nvPr/>
          </p:nvSpPr>
          <p:spPr bwMode="auto">
            <a:xfrm>
              <a:off x="1896199" y="5280250"/>
              <a:ext cx="131068" cy="16979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
          <p:nvSpPr>
            <p:cNvPr id="53" name="Rectangle 23"/>
            <p:cNvSpPr>
              <a:spLocks noChangeArrowheads="1"/>
            </p:cNvSpPr>
            <p:nvPr/>
          </p:nvSpPr>
          <p:spPr bwMode="auto">
            <a:xfrm>
              <a:off x="1720449" y="5280250"/>
              <a:ext cx="131068" cy="169793"/>
            </a:xfrm>
            <a:prstGeom prst="rect">
              <a:avLst/>
            </a:pr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grpSp>
      <p:sp>
        <p:nvSpPr>
          <p:cNvPr id="61" name="Freeform 25"/>
          <p:cNvSpPr>
            <a:spLocks/>
          </p:cNvSpPr>
          <p:nvPr/>
        </p:nvSpPr>
        <p:spPr bwMode="auto">
          <a:xfrm>
            <a:off x="2516707" y="1497635"/>
            <a:ext cx="756641" cy="493677"/>
          </a:xfrm>
          <a:custGeom>
            <a:avLst/>
            <a:gdLst>
              <a:gd name="T0" fmla="*/ 73 w 457"/>
              <a:gd name="T1" fmla="*/ 131 h 299"/>
              <a:gd name="T2" fmla="*/ 73 w 457"/>
              <a:gd name="T3" fmla="*/ 126 h 299"/>
              <a:gd name="T4" fmla="*/ 199 w 457"/>
              <a:gd name="T5" fmla="*/ 0 h 299"/>
              <a:gd name="T6" fmla="*/ 304 w 457"/>
              <a:gd name="T7" fmla="*/ 56 h 299"/>
              <a:gd name="T8" fmla="*/ 339 w 457"/>
              <a:gd name="T9" fmla="*/ 47 h 299"/>
              <a:gd name="T10" fmla="*/ 379 w 457"/>
              <a:gd name="T11" fmla="*/ 59 h 299"/>
              <a:gd name="T12" fmla="*/ 412 w 457"/>
              <a:gd name="T13" fmla="*/ 118 h 299"/>
              <a:gd name="T14" fmla="*/ 457 w 457"/>
              <a:gd name="T15" fmla="*/ 201 h 299"/>
              <a:gd name="T16" fmla="*/ 369 w 457"/>
              <a:gd name="T17" fmla="*/ 299 h 299"/>
              <a:gd name="T18" fmla="*/ 358 w 457"/>
              <a:gd name="T19" fmla="*/ 299 h 299"/>
              <a:gd name="T20" fmla="*/ 348 w 457"/>
              <a:gd name="T21" fmla="*/ 299 h 299"/>
              <a:gd name="T22" fmla="*/ 142 w 457"/>
              <a:gd name="T23" fmla="*/ 299 h 299"/>
              <a:gd name="T24" fmla="*/ 138 w 457"/>
              <a:gd name="T25" fmla="*/ 299 h 299"/>
              <a:gd name="T26" fmla="*/ 133 w 457"/>
              <a:gd name="T27" fmla="*/ 299 h 299"/>
              <a:gd name="T28" fmla="*/ 117 w 457"/>
              <a:gd name="T29" fmla="*/ 299 h 299"/>
              <a:gd name="T30" fmla="*/ 85 w 457"/>
              <a:gd name="T31" fmla="*/ 299 h 299"/>
              <a:gd name="T32" fmla="*/ 0 w 457"/>
              <a:gd name="T33" fmla="*/ 215 h 299"/>
              <a:gd name="T34" fmla="*/ 73 w 457"/>
              <a:gd name="T35" fmla="*/ 13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7" h="299">
                <a:moveTo>
                  <a:pt x="73" y="131"/>
                </a:moveTo>
                <a:cubicBezTo>
                  <a:pt x="73" y="130"/>
                  <a:pt x="73" y="127"/>
                  <a:pt x="73" y="126"/>
                </a:cubicBezTo>
                <a:cubicBezTo>
                  <a:pt x="73" y="56"/>
                  <a:pt x="129" y="0"/>
                  <a:pt x="199" y="0"/>
                </a:cubicBezTo>
                <a:cubicBezTo>
                  <a:pt x="243" y="0"/>
                  <a:pt x="281" y="23"/>
                  <a:pt x="304" y="56"/>
                </a:cubicBezTo>
                <a:cubicBezTo>
                  <a:pt x="314" y="50"/>
                  <a:pt x="326" y="47"/>
                  <a:pt x="339" y="47"/>
                </a:cubicBezTo>
                <a:cubicBezTo>
                  <a:pt x="354" y="47"/>
                  <a:pt x="368" y="51"/>
                  <a:pt x="379" y="59"/>
                </a:cubicBezTo>
                <a:cubicBezTo>
                  <a:pt x="399" y="72"/>
                  <a:pt x="411" y="93"/>
                  <a:pt x="412" y="118"/>
                </a:cubicBezTo>
                <a:cubicBezTo>
                  <a:pt x="439" y="136"/>
                  <a:pt x="457" y="166"/>
                  <a:pt x="457" y="201"/>
                </a:cubicBezTo>
                <a:cubicBezTo>
                  <a:pt x="457" y="252"/>
                  <a:pt x="419" y="294"/>
                  <a:pt x="369" y="299"/>
                </a:cubicBezTo>
                <a:cubicBezTo>
                  <a:pt x="366" y="299"/>
                  <a:pt x="361" y="299"/>
                  <a:pt x="358" y="299"/>
                </a:cubicBezTo>
                <a:cubicBezTo>
                  <a:pt x="355" y="299"/>
                  <a:pt x="351" y="299"/>
                  <a:pt x="348" y="299"/>
                </a:cubicBezTo>
                <a:cubicBezTo>
                  <a:pt x="302" y="299"/>
                  <a:pt x="193" y="299"/>
                  <a:pt x="142" y="299"/>
                </a:cubicBezTo>
                <a:cubicBezTo>
                  <a:pt x="140" y="299"/>
                  <a:pt x="139" y="299"/>
                  <a:pt x="138" y="299"/>
                </a:cubicBezTo>
                <a:cubicBezTo>
                  <a:pt x="133" y="299"/>
                  <a:pt x="133" y="299"/>
                  <a:pt x="133" y="299"/>
                </a:cubicBezTo>
                <a:cubicBezTo>
                  <a:pt x="130" y="299"/>
                  <a:pt x="123" y="299"/>
                  <a:pt x="117" y="299"/>
                </a:cubicBezTo>
                <a:cubicBezTo>
                  <a:pt x="85" y="299"/>
                  <a:pt x="85" y="299"/>
                  <a:pt x="85" y="299"/>
                </a:cubicBezTo>
                <a:cubicBezTo>
                  <a:pt x="38" y="299"/>
                  <a:pt x="0" y="261"/>
                  <a:pt x="0" y="215"/>
                </a:cubicBezTo>
                <a:cubicBezTo>
                  <a:pt x="0" y="172"/>
                  <a:pt x="32" y="137"/>
                  <a:pt x="73" y="131"/>
                </a:cubicBez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00B0F0"/>
              </a:solidFill>
            </a:endParaRPr>
          </a:p>
        </p:txBody>
      </p:sp>
    </p:spTree>
    <p:extLst>
      <p:ext uri="{BB962C8B-B14F-4D97-AF65-F5344CB8AC3E}">
        <p14:creationId xmlns:p14="http://schemas.microsoft.com/office/powerpoint/2010/main" val="26899022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250"/>
                                  </p:stCondLst>
                                  <p:childTnLst>
                                    <p:set>
                                      <p:cBhvr>
                                        <p:cTn id="11" dur="1" fill="hold">
                                          <p:stCondLst>
                                            <p:cond delay="0"/>
                                          </p:stCondLst>
                                        </p:cTn>
                                        <p:tgtEl>
                                          <p:spTgt spid="93"/>
                                        </p:tgtEl>
                                        <p:attrNameLst>
                                          <p:attrName>style.visibility</p:attrName>
                                        </p:attrNameLst>
                                      </p:cBhvr>
                                      <p:to>
                                        <p:strVal val="visible"/>
                                      </p:to>
                                    </p:set>
                                    <p:animEffect transition="in" filter="fade">
                                      <p:cBhvr>
                                        <p:cTn id="12" dur="500"/>
                                        <p:tgtEl>
                                          <p:spTgt spid="9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92"/>
                                        </p:tgtEl>
                                        <p:attrNameLst>
                                          <p:attrName>style.visibility</p:attrName>
                                        </p:attrNameLst>
                                      </p:cBhvr>
                                      <p:to>
                                        <p:strVal val="visible"/>
                                      </p:to>
                                    </p:set>
                                    <p:animEffect transition="in" filter="barn(outVertical)">
                                      <p:cBhvr>
                                        <p:cTn id="17" dur="650"/>
                                        <p:tgtEl>
                                          <p:spTgt spid="92"/>
                                        </p:tgtEl>
                                      </p:cBhvr>
                                    </p:animEffect>
                                  </p:childTnLst>
                                </p:cTn>
                              </p:par>
                              <p:par>
                                <p:cTn id="18" presetID="2" presetClass="entr" presetSubtype="1" fill="hold" nodeType="withEffect">
                                  <p:stCondLst>
                                    <p:cond delay="500"/>
                                  </p:stCondLst>
                                  <p:childTnLst>
                                    <p:set>
                                      <p:cBhvr>
                                        <p:cTn id="19" dur="1" fill="hold">
                                          <p:stCondLst>
                                            <p:cond delay="0"/>
                                          </p:stCondLst>
                                        </p:cTn>
                                        <p:tgtEl>
                                          <p:spTgt spid="87"/>
                                        </p:tgtEl>
                                        <p:attrNameLst>
                                          <p:attrName>style.visibility</p:attrName>
                                        </p:attrNameLst>
                                      </p:cBhvr>
                                      <p:to>
                                        <p:strVal val="visible"/>
                                      </p:to>
                                    </p:set>
                                    <p:anim calcmode="lin" valueType="num">
                                      <p:cBhvr additive="base">
                                        <p:cTn id="20" dur="650" fill="hold"/>
                                        <p:tgtEl>
                                          <p:spTgt spid="87"/>
                                        </p:tgtEl>
                                        <p:attrNameLst>
                                          <p:attrName>ppt_x</p:attrName>
                                        </p:attrNameLst>
                                      </p:cBhvr>
                                      <p:tavLst>
                                        <p:tav tm="0">
                                          <p:val>
                                            <p:strVal val="#ppt_x"/>
                                          </p:val>
                                        </p:tav>
                                        <p:tav tm="100000">
                                          <p:val>
                                            <p:strVal val="#ppt_x"/>
                                          </p:val>
                                        </p:tav>
                                      </p:tavLst>
                                    </p:anim>
                                    <p:anim calcmode="lin" valueType="num">
                                      <p:cBhvr additive="base">
                                        <p:cTn id="21" dur="650" fill="hold"/>
                                        <p:tgtEl>
                                          <p:spTgt spid="87"/>
                                        </p:tgtEl>
                                        <p:attrNameLst>
                                          <p:attrName>ppt_y</p:attrName>
                                        </p:attrNameLst>
                                      </p:cBhvr>
                                      <p:tavLst>
                                        <p:tav tm="0">
                                          <p:val>
                                            <p:strVal val="0-#ppt_h/2"/>
                                          </p:val>
                                        </p:tav>
                                        <p:tav tm="100000">
                                          <p:val>
                                            <p:strVal val="#ppt_y"/>
                                          </p:val>
                                        </p:tav>
                                      </p:tavLst>
                                    </p:anim>
                                  </p:childTnLst>
                                </p:cTn>
                              </p:par>
                              <p:par>
                                <p:cTn id="22" presetID="2" presetClass="entr" presetSubtype="1" fill="hold" nodeType="withEffect">
                                  <p:stCondLst>
                                    <p:cond delay="750"/>
                                  </p:stCondLst>
                                  <p:childTnLst>
                                    <p:set>
                                      <p:cBhvr>
                                        <p:cTn id="23" dur="1" fill="hold">
                                          <p:stCondLst>
                                            <p:cond delay="0"/>
                                          </p:stCondLst>
                                        </p:cTn>
                                        <p:tgtEl>
                                          <p:spTgt spid="86"/>
                                        </p:tgtEl>
                                        <p:attrNameLst>
                                          <p:attrName>style.visibility</p:attrName>
                                        </p:attrNameLst>
                                      </p:cBhvr>
                                      <p:to>
                                        <p:strVal val="visible"/>
                                      </p:to>
                                    </p:set>
                                    <p:anim calcmode="lin" valueType="num">
                                      <p:cBhvr additive="base">
                                        <p:cTn id="24" dur="650" fill="hold"/>
                                        <p:tgtEl>
                                          <p:spTgt spid="86"/>
                                        </p:tgtEl>
                                        <p:attrNameLst>
                                          <p:attrName>ppt_x</p:attrName>
                                        </p:attrNameLst>
                                      </p:cBhvr>
                                      <p:tavLst>
                                        <p:tav tm="0">
                                          <p:val>
                                            <p:strVal val="#ppt_x"/>
                                          </p:val>
                                        </p:tav>
                                        <p:tav tm="100000">
                                          <p:val>
                                            <p:strVal val="#ppt_x"/>
                                          </p:val>
                                        </p:tav>
                                      </p:tavLst>
                                    </p:anim>
                                    <p:anim calcmode="lin" valueType="num">
                                      <p:cBhvr additive="base">
                                        <p:cTn id="25" dur="650" fill="hold"/>
                                        <p:tgtEl>
                                          <p:spTgt spid="86"/>
                                        </p:tgtEl>
                                        <p:attrNameLst>
                                          <p:attrName>ppt_y</p:attrName>
                                        </p:attrNameLst>
                                      </p:cBhvr>
                                      <p:tavLst>
                                        <p:tav tm="0">
                                          <p:val>
                                            <p:strVal val="0-#ppt_h/2"/>
                                          </p:val>
                                        </p:tav>
                                        <p:tav tm="100000">
                                          <p:val>
                                            <p:strVal val="#ppt_y"/>
                                          </p:val>
                                        </p:tav>
                                      </p:tavLst>
                                    </p:anim>
                                  </p:childTnLst>
                                </p:cTn>
                              </p:par>
                              <p:par>
                                <p:cTn id="26" presetID="2" presetClass="entr" presetSubtype="1" fill="hold" nodeType="withEffect">
                                  <p:stCondLst>
                                    <p:cond delay="1000"/>
                                  </p:stCondLst>
                                  <p:childTnLst>
                                    <p:set>
                                      <p:cBhvr>
                                        <p:cTn id="27" dur="1" fill="hold">
                                          <p:stCondLst>
                                            <p:cond delay="0"/>
                                          </p:stCondLst>
                                        </p:cTn>
                                        <p:tgtEl>
                                          <p:spTgt spid="85"/>
                                        </p:tgtEl>
                                        <p:attrNameLst>
                                          <p:attrName>style.visibility</p:attrName>
                                        </p:attrNameLst>
                                      </p:cBhvr>
                                      <p:to>
                                        <p:strVal val="visible"/>
                                      </p:to>
                                    </p:set>
                                    <p:anim calcmode="lin" valueType="num">
                                      <p:cBhvr additive="base">
                                        <p:cTn id="28" dur="650" fill="hold"/>
                                        <p:tgtEl>
                                          <p:spTgt spid="85"/>
                                        </p:tgtEl>
                                        <p:attrNameLst>
                                          <p:attrName>ppt_x</p:attrName>
                                        </p:attrNameLst>
                                      </p:cBhvr>
                                      <p:tavLst>
                                        <p:tav tm="0">
                                          <p:val>
                                            <p:strVal val="#ppt_x"/>
                                          </p:val>
                                        </p:tav>
                                        <p:tav tm="100000">
                                          <p:val>
                                            <p:strVal val="#ppt_x"/>
                                          </p:val>
                                        </p:tav>
                                      </p:tavLst>
                                    </p:anim>
                                    <p:anim calcmode="lin" valueType="num">
                                      <p:cBhvr additive="base">
                                        <p:cTn id="29" dur="650" fill="hold"/>
                                        <p:tgtEl>
                                          <p:spTgt spid="85"/>
                                        </p:tgtEl>
                                        <p:attrNameLst>
                                          <p:attrName>ppt_y</p:attrName>
                                        </p:attrNameLst>
                                      </p:cBhvr>
                                      <p:tavLst>
                                        <p:tav tm="0">
                                          <p:val>
                                            <p:strVal val="0-#ppt_h/2"/>
                                          </p:val>
                                        </p:tav>
                                        <p:tav tm="100000">
                                          <p:val>
                                            <p:strVal val="#ppt_y"/>
                                          </p:val>
                                        </p:tav>
                                      </p:tavLst>
                                    </p:anim>
                                  </p:childTnLst>
                                </p:cTn>
                              </p:par>
                            </p:childTnLst>
                          </p:cTn>
                        </p:par>
                        <p:par>
                          <p:cTn id="30" fill="hold">
                            <p:stCondLst>
                              <p:cond delay="1650"/>
                            </p:stCondLst>
                            <p:childTnLst>
                              <p:par>
                                <p:cTn id="31" presetID="16" presetClass="entr" presetSubtype="37" fill="hold" nodeType="afterEffect">
                                  <p:stCondLst>
                                    <p:cond delay="0"/>
                                  </p:stCondLst>
                                  <p:childTnLst>
                                    <p:set>
                                      <p:cBhvr>
                                        <p:cTn id="32" dur="1" fill="hold">
                                          <p:stCondLst>
                                            <p:cond delay="0"/>
                                          </p:stCondLst>
                                        </p:cTn>
                                        <p:tgtEl>
                                          <p:spTgt spid="91"/>
                                        </p:tgtEl>
                                        <p:attrNameLst>
                                          <p:attrName>style.visibility</p:attrName>
                                        </p:attrNameLst>
                                      </p:cBhvr>
                                      <p:to>
                                        <p:strVal val="visible"/>
                                      </p:to>
                                    </p:set>
                                    <p:animEffect transition="in" filter="barn(outVertical)">
                                      <p:cBhvr>
                                        <p:cTn id="33" dur="650"/>
                                        <p:tgtEl>
                                          <p:spTgt spid="91"/>
                                        </p:tgtEl>
                                      </p:cBhvr>
                                    </p:animEffect>
                                  </p:childTnLst>
                                </p:cTn>
                              </p:par>
                              <p:par>
                                <p:cTn id="34" presetID="2" presetClass="entr" presetSubtype="4" fill="hold" nodeType="withEffect">
                                  <p:stCondLst>
                                    <p:cond delay="250"/>
                                  </p:stCondLst>
                                  <p:childTnLst>
                                    <p:set>
                                      <p:cBhvr>
                                        <p:cTn id="35" dur="1" fill="hold">
                                          <p:stCondLst>
                                            <p:cond delay="0"/>
                                          </p:stCondLst>
                                        </p:cTn>
                                        <p:tgtEl>
                                          <p:spTgt spid="90"/>
                                        </p:tgtEl>
                                        <p:attrNameLst>
                                          <p:attrName>style.visibility</p:attrName>
                                        </p:attrNameLst>
                                      </p:cBhvr>
                                      <p:to>
                                        <p:strVal val="visible"/>
                                      </p:to>
                                    </p:set>
                                    <p:anim calcmode="lin" valueType="num">
                                      <p:cBhvr additive="base">
                                        <p:cTn id="36" dur="650" fill="hold"/>
                                        <p:tgtEl>
                                          <p:spTgt spid="90"/>
                                        </p:tgtEl>
                                        <p:attrNameLst>
                                          <p:attrName>ppt_x</p:attrName>
                                        </p:attrNameLst>
                                      </p:cBhvr>
                                      <p:tavLst>
                                        <p:tav tm="0">
                                          <p:val>
                                            <p:strVal val="#ppt_x"/>
                                          </p:val>
                                        </p:tav>
                                        <p:tav tm="100000">
                                          <p:val>
                                            <p:strVal val="#ppt_x"/>
                                          </p:val>
                                        </p:tav>
                                      </p:tavLst>
                                    </p:anim>
                                    <p:anim calcmode="lin" valueType="num">
                                      <p:cBhvr additive="base">
                                        <p:cTn id="37" dur="650" fill="hold"/>
                                        <p:tgtEl>
                                          <p:spTgt spid="90"/>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500"/>
                                  </p:stCondLst>
                                  <p:childTnLst>
                                    <p:set>
                                      <p:cBhvr>
                                        <p:cTn id="39" dur="1" fill="hold">
                                          <p:stCondLst>
                                            <p:cond delay="0"/>
                                          </p:stCondLst>
                                        </p:cTn>
                                        <p:tgtEl>
                                          <p:spTgt spid="89"/>
                                        </p:tgtEl>
                                        <p:attrNameLst>
                                          <p:attrName>style.visibility</p:attrName>
                                        </p:attrNameLst>
                                      </p:cBhvr>
                                      <p:to>
                                        <p:strVal val="visible"/>
                                      </p:to>
                                    </p:set>
                                    <p:anim calcmode="lin" valueType="num">
                                      <p:cBhvr additive="base">
                                        <p:cTn id="40" dur="650" fill="hold"/>
                                        <p:tgtEl>
                                          <p:spTgt spid="89"/>
                                        </p:tgtEl>
                                        <p:attrNameLst>
                                          <p:attrName>ppt_x</p:attrName>
                                        </p:attrNameLst>
                                      </p:cBhvr>
                                      <p:tavLst>
                                        <p:tav tm="0">
                                          <p:val>
                                            <p:strVal val="#ppt_x"/>
                                          </p:val>
                                        </p:tav>
                                        <p:tav tm="100000">
                                          <p:val>
                                            <p:strVal val="#ppt_x"/>
                                          </p:val>
                                        </p:tav>
                                      </p:tavLst>
                                    </p:anim>
                                    <p:anim calcmode="lin" valueType="num">
                                      <p:cBhvr additive="base">
                                        <p:cTn id="41" dur="650" fill="hold"/>
                                        <p:tgtEl>
                                          <p:spTgt spid="89"/>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750"/>
                                  </p:stCondLst>
                                  <p:childTnLst>
                                    <p:set>
                                      <p:cBhvr>
                                        <p:cTn id="43" dur="1" fill="hold">
                                          <p:stCondLst>
                                            <p:cond delay="0"/>
                                          </p:stCondLst>
                                        </p:cTn>
                                        <p:tgtEl>
                                          <p:spTgt spid="88"/>
                                        </p:tgtEl>
                                        <p:attrNameLst>
                                          <p:attrName>style.visibility</p:attrName>
                                        </p:attrNameLst>
                                      </p:cBhvr>
                                      <p:to>
                                        <p:strVal val="visible"/>
                                      </p:to>
                                    </p:set>
                                    <p:anim calcmode="lin" valueType="num">
                                      <p:cBhvr additive="base">
                                        <p:cTn id="44" dur="650" fill="hold"/>
                                        <p:tgtEl>
                                          <p:spTgt spid="88"/>
                                        </p:tgtEl>
                                        <p:attrNameLst>
                                          <p:attrName>ppt_x</p:attrName>
                                        </p:attrNameLst>
                                      </p:cBhvr>
                                      <p:tavLst>
                                        <p:tav tm="0">
                                          <p:val>
                                            <p:strVal val="#ppt_x"/>
                                          </p:val>
                                        </p:tav>
                                        <p:tav tm="100000">
                                          <p:val>
                                            <p:strVal val="#ppt_x"/>
                                          </p:val>
                                        </p:tav>
                                      </p:tavLst>
                                    </p:anim>
                                    <p:anim calcmode="lin" valueType="num">
                                      <p:cBhvr additive="base">
                                        <p:cTn id="45" dur="650" fill="hold"/>
                                        <p:tgtEl>
                                          <p:spTgt spid="8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66463" y="1668462"/>
            <a:ext cx="12070012" cy="1157240"/>
          </a:xfrm>
        </p:spPr>
        <p:txBody>
          <a:bodyPr/>
          <a:lstStyle/>
          <a:p>
            <a:pPr lvl="0">
              <a:spcBef>
                <a:spcPts val="2400"/>
              </a:spcBef>
            </a:pPr>
            <a:r>
              <a:rPr lang="en-US" sz="2400" dirty="0" smtClean="0">
                <a:gradFill>
                  <a:gsLst>
                    <a:gs pos="1250">
                      <a:schemeClr val="tx1"/>
                    </a:gs>
                    <a:gs pos="100000">
                      <a:schemeClr val="tx1"/>
                    </a:gs>
                  </a:gsLst>
                  <a:lin ang="5400000" scaled="0"/>
                </a:gradFill>
              </a:rPr>
              <a:t>Azure Active Directory Documentation: </a:t>
            </a:r>
          </a:p>
          <a:p>
            <a:pPr marL="0" lvl="0" indent="0">
              <a:spcBef>
                <a:spcPts val="2400"/>
              </a:spcBef>
              <a:buNone/>
            </a:pPr>
            <a:r>
              <a:rPr lang="en-US" sz="2400" dirty="0">
                <a:gradFill>
                  <a:gsLst>
                    <a:gs pos="1250">
                      <a:schemeClr val="tx1"/>
                    </a:gs>
                    <a:gs pos="100000">
                      <a:schemeClr val="tx1"/>
                    </a:gs>
                  </a:gsLst>
                  <a:lin ang="5400000" scaled="0"/>
                </a:gradFill>
              </a:rPr>
              <a:t>http://azure.microsoft.com/en-us/documentation/services/active-directory/</a:t>
            </a:r>
          </a:p>
        </p:txBody>
      </p:sp>
      <p:sp>
        <p:nvSpPr>
          <p:cNvPr id="2" name="Title 1"/>
          <p:cNvSpPr>
            <a:spLocks noGrp="1"/>
          </p:cNvSpPr>
          <p:nvPr>
            <p:ph type="title"/>
          </p:nvPr>
        </p:nvSpPr>
        <p:spPr/>
        <p:txBody>
          <a:bodyPr/>
          <a:lstStyle/>
          <a:p>
            <a:r>
              <a:rPr lang="en-US" dirty="0" smtClean="0"/>
              <a:t>Track resources</a:t>
            </a:r>
            <a:endParaRPr lang="en-US" dirty="0"/>
          </a:p>
        </p:txBody>
      </p:sp>
      <p:sp>
        <p:nvSpPr>
          <p:cNvPr id="12" name="Text Placeholder 7"/>
          <p:cNvSpPr txBox="1">
            <a:spLocks/>
          </p:cNvSpPr>
          <p:nvPr/>
        </p:nvSpPr>
        <p:spPr>
          <a:xfrm>
            <a:off x="356516" y="3497262"/>
            <a:ext cx="12070012" cy="517065"/>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00BCF2"/>
              </a:buClr>
            </a:pPr>
            <a:r>
              <a:rPr lang="en-US" sz="2400" dirty="0" smtClean="0">
                <a:gradFill>
                  <a:gsLst>
                    <a:gs pos="1250">
                      <a:srgbClr val="FFFFFF"/>
                    </a:gs>
                    <a:gs pos="100000">
                      <a:srgbClr val="FFFFFF"/>
                    </a:gs>
                  </a:gsLst>
                  <a:lin ang="5400000" scaled="0"/>
                </a:gradFill>
              </a:rPr>
              <a:t>MSDN Library : </a:t>
            </a:r>
            <a:r>
              <a:rPr lang="en-US" sz="2400" dirty="0">
                <a:gradFill>
                  <a:gsLst>
                    <a:gs pos="1250">
                      <a:srgbClr val="FFFFFF"/>
                    </a:gs>
                    <a:gs pos="100000">
                      <a:srgbClr val="FFFFFF"/>
                    </a:gs>
                  </a:gsLst>
                  <a:lin ang="5400000" scaled="0"/>
                </a:gradFill>
              </a:rPr>
              <a:t>http://msdn.microsoft.com/en-us/library/azure/hh967611.aspx</a:t>
            </a:r>
          </a:p>
        </p:txBody>
      </p:sp>
    </p:spTree>
    <p:extLst>
      <p:ext uri="{BB962C8B-B14F-4D97-AF65-F5344CB8AC3E}">
        <p14:creationId xmlns:p14="http://schemas.microsoft.com/office/powerpoint/2010/main" val="146737630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2.97322E-6 L 3.98264E-7 -2.97322E-6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75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63" presetClass="path" presetSubtype="0" decel="100000" fill="hold" grpId="1" nodeType="withEffect">
                                  <p:stCondLst>
                                    <p:cond delay="750"/>
                                  </p:stCondLst>
                                  <p:childTnLst>
                                    <p:animMotion origin="layout" path="M -0.02412 4.99319E-6 L -3.70947E-6 4.99319E-6 " pathEditMode="relative" rAng="0" ptsTypes="AA">
                                      <p:cBhvr>
                                        <p:cTn id="14" dur="500" fill="hold"/>
                                        <p:tgtEl>
                                          <p:spTgt spid="12"/>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2" grpId="0"/>
      <p:bldP spid="12"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5608723" y="5325803"/>
            <a:ext cx="6826870" cy="16682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a:xfrm>
            <a:off x="6023856" y="5619447"/>
            <a:ext cx="5996605" cy="1074924"/>
          </a:xfrm>
          <a:prstGeom prst="rect">
            <a:avLst/>
          </a:prstGeom>
        </p:spPr>
        <p:txBody>
          <a:bodyPr wrap="none">
            <a:spAutoFit/>
          </a:bodyPr>
          <a:lstStyle/>
          <a:p>
            <a:pPr marL="0" lvl="1" algn="ctr" defTabSz="932418" fontAlgn="base">
              <a:lnSpc>
                <a:spcPct val="90000"/>
              </a:lnSpc>
              <a:spcBef>
                <a:spcPct val="20000"/>
              </a:spcBef>
              <a:spcAft>
                <a:spcPts val="408"/>
              </a:spcAft>
              <a:buClr>
                <a:srgbClr val="000000">
                  <a:lumMod val="75000"/>
                  <a:lumOff val="25000"/>
                </a:srgbClr>
              </a:buClr>
              <a:buSzPct val="90000"/>
              <a:tabLst>
                <a:tab pos="642659" algn="l"/>
              </a:tabLst>
            </a:pPr>
            <a:r>
              <a:rPr lang="en-US" sz="2040" spc="-51" dirty="0">
                <a:solidFill>
                  <a:srgbClr val="FFFFFF"/>
                </a:solidFill>
              </a:rPr>
              <a:t>Come Visit Us in the Microsoft Solutions Experience!</a:t>
            </a:r>
          </a:p>
          <a:p>
            <a:pPr marL="0" lvl="1" algn="ctr" defTabSz="932418" fontAlgn="base">
              <a:lnSpc>
                <a:spcPct val="90000"/>
              </a:lnSpc>
              <a:spcBef>
                <a:spcPct val="20000"/>
              </a:spcBef>
              <a:spcAft>
                <a:spcPts val="408"/>
              </a:spcAft>
              <a:buClr>
                <a:srgbClr val="000000">
                  <a:lumMod val="75000"/>
                  <a:lumOff val="25000"/>
                </a:srgbClr>
              </a:buClr>
              <a:buSzPct val="90000"/>
              <a:tabLst>
                <a:tab pos="642659" algn="l"/>
              </a:tabLst>
            </a:pPr>
            <a:r>
              <a:rPr lang="en-US" sz="2040" spc="-51" dirty="0">
                <a:solidFill>
                  <a:srgbClr val="FFFFFF"/>
                </a:solidFill>
              </a:rPr>
              <a:t>Look for Datacenter and Infrastructure Management</a:t>
            </a:r>
            <a:br>
              <a:rPr lang="en-US" sz="2040" spc="-51" dirty="0">
                <a:solidFill>
                  <a:srgbClr val="FFFFFF"/>
                </a:solidFill>
              </a:rPr>
            </a:br>
            <a:r>
              <a:rPr lang="en-US" sz="2040" spc="-51" dirty="0" err="1">
                <a:solidFill>
                  <a:srgbClr val="FFFFFF"/>
                </a:solidFill>
              </a:rPr>
              <a:t>TechExpo</a:t>
            </a:r>
            <a:r>
              <a:rPr lang="en-US" sz="2040" spc="-51" dirty="0">
                <a:solidFill>
                  <a:srgbClr val="FFFFFF"/>
                </a:solidFill>
              </a:rPr>
              <a:t> Level 1 Hall CD</a:t>
            </a:r>
          </a:p>
        </p:txBody>
      </p:sp>
      <p:sp>
        <p:nvSpPr>
          <p:cNvPr id="5" name="Text Placeholder 4"/>
          <p:cNvSpPr>
            <a:spLocks noGrp="1"/>
          </p:cNvSpPr>
          <p:nvPr>
            <p:ph type="body" sz="quarter" idx="15"/>
          </p:nvPr>
        </p:nvSpPr>
        <p:spPr/>
        <p:txBody>
          <a:bodyPr/>
          <a:lstStyle/>
          <a:p>
            <a:pPr marL="0" indent="0">
              <a:buNone/>
            </a:pPr>
            <a:r>
              <a:rPr lang="en-US" sz="5399" dirty="0">
                <a:solidFill>
                  <a:schemeClr val="tx2"/>
                </a:solidFill>
                <a:latin typeface="Segoe UI Light" pitchFamily="34" charset="0"/>
              </a:rPr>
              <a:t>For More Information</a:t>
            </a:r>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8835" y="6354983"/>
            <a:ext cx="1569542" cy="336220"/>
          </a:xfrm>
          <a:prstGeom prst="rect">
            <a:avLst/>
          </a:prstGeom>
        </p:spPr>
      </p:pic>
      <p:grpSp>
        <p:nvGrpSpPr>
          <p:cNvPr id="8" name="Group 7"/>
          <p:cNvGrpSpPr/>
          <p:nvPr/>
        </p:nvGrpSpPr>
        <p:grpSpPr>
          <a:xfrm>
            <a:off x="561440" y="1516344"/>
            <a:ext cx="10298627" cy="753197"/>
            <a:chOff x="560638" y="980251"/>
            <a:chExt cx="10300088" cy="753303"/>
          </a:xfrm>
        </p:grpSpPr>
        <p:sp>
          <p:nvSpPr>
            <p:cNvPr id="2" name="Rectangle 1"/>
            <p:cNvSpPr/>
            <p:nvPr/>
          </p:nvSpPr>
          <p:spPr>
            <a:xfrm>
              <a:off x="5227637" y="1026130"/>
              <a:ext cx="5633089" cy="663989"/>
            </a:xfrm>
            <a:prstGeom prst="rect">
              <a:avLst/>
            </a:prstGeom>
          </p:spPr>
          <p:txBody>
            <a:bodyPr wrap="square" lIns="93251" tIns="46625" rIns="93251" bIns="46625">
              <a:spAutoFit/>
            </a:bodyPr>
            <a:lstStyle/>
            <a:p>
              <a:pPr defTabSz="932418">
                <a:spcBef>
                  <a:spcPts val="600"/>
                </a:spcBef>
              </a:pPr>
              <a:r>
                <a:rPr lang="en-US" sz="2000" dirty="0">
                  <a:solidFill>
                    <a:srgbClr val="FFFFFF"/>
                  </a:solidFill>
                </a:rPr>
                <a:t>Windows Server 2012 R2</a:t>
              </a:r>
            </a:p>
            <a:p>
              <a:pPr defTabSz="932418"/>
              <a:r>
                <a:rPr lang="en-US" sz="1630" dirty="0">
                  <a:solidFill>
                    <a:srgbClr val="FFFFFF"/>
                  </a:solidFill>
                  <a:hlinkClick r:id="rId4"/>
                </a:rPr>
                <a:t>http://technet.microsoft.com/en-US/evalcenter/dn205286</a:t>
              </a:r>
              <a:endParaRPr lang="en-US" sz="1630" dirty="0">
                <a:solidFill>
                  <a:srgbClr val="FFFFFF"/>
                </a:solidFill>
              </a:endParaRPr>
            </a:p>
          </p:txBody>
        </p:sp>
        <p:sp>
          <p:nvSpPr>
            <p:cNvPr id="11" name="Freeform 9"/>
            <p:cNvSpPr>
              <a:spLocks noEditPoints="1"/>
            </p:cNvSpPr>
            <p:nvPr/>
          </p:nvSpPr>
          <p:spPr bwMode="black">
            <a:xfrm>
              <a:off x="4057092" y="1034078"/>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00" tIns="45700" rIns="91400" bIns="45700" numCol="1" anchor="t" anchorCtr="0" compatLnSpc="1">
              <a:prstTxWarp prst="textNoShape">
                <a:avLst/>
              </a:prstTxWarp>
            </a:bodyPr>
            <a:lstStyle/>
            <a:p>
              <a:pPr defTabSz="932418"/>
              <a:endParaRPr lang="en-US">
                <a:solidFill>
                  <a:prstClr val="black"/>
                </a:solidFill>
              </a:endParaRPr>
            </a:p>
          </p:txBody>
        </p:sp>
        <p:sp>
          <p:nvSpPr>
            <p:cNvPr id="19" name="TextBox 18"/>
            <p:cNvSpPr txBox="1"/>
            <p:nvPr/>
          </p:nvSpPr>
          <p:spPr>
            <a:xfrm>
              <a:off x="560638" y="980251"/>
              <a:ext cx="3523999" cy="753303"/>
            </a:xfrm>
            <a:prstGeom prst="rect">
              <a:avLst/>
            </a:prstGeom>
            <a:noFill/>
          </p:spPr>
          <p:txBody>
            <a:bodyPr wrap="square" lIns="186494" tIns="149196" rIns="186494" bIns="149196" rtlCol="0">
              <a:spAutoFit/>
            </a:bodyPr>
            <a:lstStyle/>
            <a:p>
              <a:pPr defTabSz="932418">
                <a:lnSpc>
                  <a:spcPct val="90000"/>
                </a:lnSpc>
                <a:spcAft>
                  <a:spcPts val="612"/>
                </a:spcAft>
              </a:pPr>
              <a:r>
                <a:rPr lang="en-US" sz="3199" dirty="0">
                  <a:gradFill>
                    <a:gsLst>
                      <a:gs pos="2917">
                        <a:srgbClr val="FFFFFF"/>
                      </a:gs>
                      <a:gs pos="30000">
                        <a:srgbClr val="FFFFFF"/>
                      </a:gs>
                    </a:gsLst>
                    <a:lin ang="5400000" scaled="0"/>
                  </a:gradFill>
                  <a:cs typeface="Segoe UI" panose="020B0502040204020203" pitchFamily="34" charset="0"/>
                </a:rPr>
                <a:t>Windows Server</a:t>
              </a:r>
            </a:p>
          </p:txBody>
        </p:sp>
      </p:grpSp>
      <p:grpSp>
        <p:nvGrpSpPr>
          <p:cNvPr id="14" name="Group 13"/>
          <p:cNvGrpSpPr/>
          <p:nvPr/>
        </p:nvGrpSpPr>
        <p:grpSpPr>
          <a:xfrm>
            <a:off x="561440" y="4259156"/>
            <a:ext cx="10298627" cy="753197"/>
            <a:chOff x="560638" y="4716139"/>
            <a:chExt cx="10300088" cy="753303"/>
          </a:xfrm>
        </p:grpSpPr>
        <p:sp>
          <p:nvSpPr>
            <p:cNvPr id="20" name="Freeform 9"/>
            <p:cNvSpPr>
              <a:spLocks noEditPoints="1"/>
            </p:cNvSpPr>
            <p:nvPr/>
          </p:nvSpPr>
          <p:spPr bwMode="black">
            <a:xfrm>
              <a:off x="4057092" y="47699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00" tIns="45700" rIns="91400" bIns="45700" numCol="1" anchor="t" anchorCtr="0" compatLnSpc="1">
              <a:prstTxWarp prst="textNoShape">
                <a:avLst/>
              </a:prstTxWarp>
            </a:bodyPr>
            <a:lstStyle/>
            <a:p>
              <a:pPr defTabSz="932418"/>
              <a:endParaRPr lang="en-US">
                <a:solidFill>
                  <a:prstClr val="black"/>
                </a:solidFill>
              </a:endParaRPr>
            </a:p>
          </p:txBody>
        </p:sp>
        <p:sp>
          <p:nvSpPr>
            <p:cNvPr id="21" name="TextBox 20"/>
            <p:cNvSpPr txBox="1"/>
            <p:nvPr/>
          </p:nvSpPr>
          <p:spPr>
            <a:xfrm>
              <a:off x="560638" y="4716139"/>
              <a:ext cx="3295399" cy="753303"/>
            </a:xfrm>
            <a:prstGeom prst="rect">
              <a:avLst/>
            </a:prstGeom>
            <a:noFill/>
          </p:spPr>
          <p:txBody>
            <a:bodyPr wrap="square" lIns="186494" tIns="149196" rIns="186494" bIns="149196" rtlCol="0">
              <a:spAutoFit/>
            </a:bodyPr>
            <a:lstStyle/>
            <a:p>
              <a:pPr defTabSz="932418">
                <a:lnSpc>
                  <a:spcPct val="90000"/>
                </a:lnSpc>
                <a:spcAft>
                  <a:spcPts val="612"/>
                </a:spcAft>
              </a:pPr>
              <a:r>
                <a:rPr lang="en-US" sz="3199" dirty="0">
                  <a:gradFill>
                    <a:gsLst>
                      <a:gs pos="2917">
                        <a:srgbClr val="FFFFFF"/>
                      </a:gs>
                      <a:gs pos="30000">
                        <a:srgbClr val="FFFFFF"/>
                      </a:gs>
                    </a:gsLst>
                    <a:lin ang="5400000" scaled="0"/>
                  </a:gradFill>
                  <a:cs typeface="Segoe UI" panose="020B0502040204020203" pitchFamily="34" charset="0"/>
                </a:rPr>
                <a:t>Microsoft Azure</a:t>
              </a:r>
            </a:p>
          </p:txBody>
        </p:sp>
        <p:sp>
          <p:nvSpPr>
            <p:cNvPr id="22" name="Rectangle 21"/>
            <p:cNvSpPr/>
            <p:nvPr/>
          </p:nvSpPr>
          <p:spPr>
            <a:xfrm>
              <a:off x="5227637" y="4771347"/>
              <a:ext cx="5633089" cy="644957"/>
            </a:xfrm>
            <a:prstGeom prst="rect">
              <a:avLst/>
            </a:prstGeom>
          </p:spPr>
          <p:txBody>
            <a:bodyPr wrap="square" lIns="93251" tIns="46625" rIns="93251" bIns="46625">
              <a:spAutoFit/>
            </a:bodyPr>
            <a:lstStyle/>
            <a:p>
              <a:pPr defTabSz="932418">
                <a:spcBef>
                  <a:spcPts val="612"/>
                </a:spcBef>
              </a:pPr>
              <a:r>
                <a:rPr lang="en-US" sz="2040" dirty="0">
                  <a:solidFill>
                    <a:srgbClr val="FFFFFF"/>
                  </a:solidFill>
                </a:rPr>
                <a:t>Microsoft Azure</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sz="1632" dirty="0">
                  <a:solidFill>
                    <a:srgbClr val="000000"/>
                  </a:solidFill>
                  <a:hlinkClick r:id="rId5"/>
                </a:rPr>
                <a:t>http://azure.microsoft.com/en-us/</a:t>
              </a:r>
              <a:r>
                <a:rPr lang="en-US" sz="1632" dirty="0">
                  <a:solidFill>
                    <a:srgbClr val="000000"/>
                  </a:solidFill>
                </a:rPr>
                <a:t> </a:t>
              </a:r>
            </a:p>
          </p:txBody>
        </p:sp>
      </p:grpSp>
      <p:grpSp>
        <p:nvGrpSpPr>
          <p:cNvPr id="9" name="Group 8"/>
          <p:cNvGrpSpPr/>
          <p:nvPr/>
        </p:nvGrpSpPr>
        <p:grpSpPr>
          <a:xfrm>
            <a:off x="561440" y="2392083"/>
            <a:ext cx="10298627" cy="753197"/>
            <a:chOff x="560638" y="1761252"/>
            <a:chExt cx="10300088" cy="753303"/>
          </a:xfrm>
        </p:grpSpPr>
        <p:sp>
          <p:nvSpPr>
            <p:cNvPr id="12" name="Freeform 9"/>
            <p:cNvSpPr>
              <a:spLocks noEditPoints="1"/>
            </p:cNvSpPr>
            <p:nvPr/>
          </p:nvSpPr>
          <p:spPr bwMode="black">
            <a:xfrm>
              <a:off x="4057092" y="1815079"/>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00" tIns="45700" rIns="91400" bIns="45700" numCol="1" anchor="t" anchorCtr="0" compatLnSpc="1">
              <a:prstTxWarp prst="textNoShape">
                <a:avLst/>
              </a:prstTxWarp>
            </a:bodyPr>
            <a:lstStyle/>
            <a:p>
              <a:pPr defTabSz="932418"/>
              <a:endParaRPr lang="en-US">
                <a:solidFill>
                  <a:prstClr val="black"/>
                </a:solidFill>
              </a:endParaRPr>
            </a:p>
          </p:txBody>
        </p:sp>
        <p:sp>
          <p:nvSpPr>
            <p:cNvPr id="3" name="TextBox 2"/>
            <p:cNvSpPr txBox="1"/>
            <p:nvPr/>
          </p:nvSpPr>
          <p:spPr>
            <a:xfrm>
              <a:off x="560638" y="1761252"/>
              <a:ext cx="3371599" cy="753303"/>
            </a:xfrm>
            <a:prstGeom prst="rect">
              <a:avLst/>
            </a:prstGeom>
            <a:noFill/>
          </p:spPr>
          <p:txBody>
            <a:bodyPr wrap="square" lIns="186494" tIns="149196" rIns="186494" bIns="149196" rtlCol="0">
              <a:spAutoFit/>
            </a:bodyPr>
            <a:lstStyle/>
            <a:p>
              <a:pPr defTabSz="932418">
                <a:lnSpc>
                  <a:spcPct val="90000"/>
                </a:lnSpc>
                <a:spcAft>
                  <a:spcPts val="612"/>
                </a:spcAft>
              </a:pPr>
              <a:r>
                <a:rPr lang="en-US" sz="3199" dirty="0">
                  <a:gradFill>
                    <a:gsLst>
                      <a:gs pos="2917">
                        <a:srgbClr val="FFFFFF"/>
                      </a:gs>
                      <a:gs pos="30000">
                        <a:srgbClr val="FFFFFF"/>
                      </a:gs>
                    </a:gsLst>
                    <a:lin ang="5400000" scaled="0"/>
                  </a:gradFill>
                  <a:cs typeface="Segoe UI" panose="020B0502040204020203" pitchFamily="34" charset="0"/>
                </a:rPr>
                <a:t>System Center</a:t>
              </a:r>
            </a:p>
          </p:txBody>
        </p:sp>
        <p:sp>
          <p:nvSpPr>
            <p:cNvPr id="24" name="Rectangle 23"/>
            <p:cNvSpPr/>
            <p:nvPr/>
          </p:nvSpPr>
          <p:spPr>
            <a:xfrm>
              <a:off x="5227637" y="1807131"/>
              <a:ext cx="5633089" cy="663989"/>
            </a:xfrm>
            <a:prstGeom prst="rect">
              <a:avLst/>
            </a:prstGeom>
          </p:spPr>
          <p:txBody>
            <a:bodyPr wrap="square" lIns="93251" tIns="46625" rIns="93251" bIns="46625">
              <a:spAutoFit/>
            </a:bodyPr>
            <a:lstStyle/>
            <a:p>
              <a:pPr defTabSz="932418">
                <a:spcBef>
                  <a:spcPts val="600"/>
                </a:spcBef>
              </a:pPr>
              <a:r>
                <a:rPr lang="en-US" sz="2000" dirty="0">
                  <a:solidFill>
                    <a:srgbClr val="FFFFFF"/>
                  </a:solidFill>
                </a:rPr>
                <a:t>System Center 2012 R2</a:t>
              </a:r>
            </a:p>
            <a:p>
              <a:pPr defTabSz="932418"/>
              <a:r>
                <a:rPr lang="en-US" sz="1630" dirty="0">
                  <a:solidFill>
                    <a:srgbClr val="FFFFFF"/>
                  </a:solidFill>
                  <a:hlinkClick r:id="rId6"/>
                </a:rPr>
                <a:t>http://technet.microsoft.com/en-US/evalcenter/dn205295</a:t>
              </a:r>
              <a:endParaRPr lang="en-US" sz="1630" dirty="0">
                <a:solidFill>
                  <a:srgbClr val="FFFFFF"/>
                </a:solidFill>
              </a:endParaRPr>
            </a:p>
          </p:txBody>
        </p:sp>
      </p:grpSp>
      <p:grpSp>
        <p:nvGrpSpPr>
          <p:cNvPr id="10" name="Group 9"/>
          <p:cNvGrpSpPr/>
          <p:nvPr/>
        </p:nvGrpSpPr>
        <p:grpSpPr>
          <a:xfrm>
            <a:off x="561440" y="3267822"/>
            <a:ext cx="10298627" cy="875389"/>
            <a:chOff x="560638" y="2719400"/>
            <a:chExt cx="10300088" cy="875513"/>
          </a:xfrm>
        </p:grpSpPr>
        <p:sp>
          <p:nvSpPr>
            <p:cNvPr id="13" name="Freeform 9"/>
            <p:cNvSpPr>
              <a:spLocks noEditPoints="1"/>
            </p:cNvSpPr>
            <p:nvPr/>
          </p:nvSpPr>
          <p:spPr bwMode="black">
            <a:xfrm>
              <a:off x="4057092" y="2831031"/>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00" tIns="45700" rIns="91400" bIns="45700" numCol="1" anchor="t" anchorCtr="0" compatLnSpc="1">
              <a:prstTxWarp prst="textNoShape">
                <a:avLst/>
              </a:prstTxWarp>
            </a:bodyPr>
            <a:lstStyle/>
            <a:p>
              <a:pPr defTabSz="932418"/>
              <a:endParaRPr lang="en-US">
                <a:solidFill>
                  <a:prstClr val="black"/>
                </a:solidFill>
              </a:endParaRPr>
            </a:p>
          </p:txBody>
        </p:sp>
        <p:sp>
          <p:nvSpPr>
            <p:cNvPr id="18" name="TextBox 17"/>
            <p:cNvSpPr txBox="1"/>
            <p:nvPr/>
          </p:nvSpPr>
          <p:spPr>
            <a:xfrm>
              <a:off x="560638" y="2777204"/>
              <a:ext cx="3295399" cy="753304"/>
            </a:xfrm>
            <a:prstGeom prst="rect">
              <a:avLst/>
            </a:prstGeom>
            <a:noFill/>
          </p:spPr>
          <p:txBody>
            <a:bodyPr wrap="square" lIns="186494" tIns="149196" rIns="186494" bIns="149196" rtlCol="0">
              <a:spAutoFit/>
            </a:bodyPr>
            <a:lstStyle/>
            <a:p>
              <a:pPr defTabSz="932418">
                <a:lnSpc>
                  <a:spcPct val="90000"/>
                </a:lnSpc>
                <a:spcAft>
                  <a:spcPts val="612"/>
                </a:spcAft>
              </a:pPr>
              <a:r>
                <a:rPr lang="en-US" sz="3199" dirty="0">
                  <a:gradFill>
                    <a:gsLst>
                      <a:gs pos="2917">
                        <a:srgbClr val="FFFFFF"/>
                      </a:gs>
                      <a:gs pos="30000">
                        <a:srgbClr val="FFFFFF"/>
                      </a:gs>
                    </a:gsLst>
                    <a:lin ang="5400000" scaled="0"/>
                  </a:gradFill>
                  <a:cs typeface="Segoe UI" panose="020B0502040204020203" pitchFamily="34" charset="0"/>
                </a:rPr>
                <a:t>Azure Pack</a:t>
              </a:r>
            </a:p>
          </p:txBody>
        </p:sp>
        <p:sp>
          <p:nvSpPr>
            <p:cNvPr id="25" name="Rectangle 24"/>
            <p:cNvSpPr/>
            <p:nvPr/>
          </p:nvSpPr>
          <p:spPr>
            <a:xfrm>
              <a:off x="5227637" y="2719400"/>
              <a:ext cx="5633089" cy="875513"/>
            </a:xfrm>
            <a:prstGeom prst="rect">
              <a:avLst/>
            </a:prstGeom>
          </p:spPr>
          <p:txBody>
            <a:bodyPr wrap="square" lIns="93251" tIns="46625" rIns="93251" bIns="46625">
              <a:spAutoFit/>
            </a:bodyPr>
            <a:lstStyle/>
            <a:p>
              <a:pPr defTabSz="932418">
                <a:spcBef>
                  <a:spcPts val="612"/>
                </a:spcBef>
              </a:pPr>
              <a:r>
                <a:rPr lang="en-US" sz="2040" dirty="0">
                  <a:solidFill>
                    <a:srgbClr val="FFFFFF"/>
                  </a:solidFill>
                </a:rPr>
                <a:t>Azure Pack</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sz="1632" u="sng" dirty="0">
                  <a:solidFill>
                    <a:srgbClr val="FFFFFF"/>
                  </a:solidFill>
                  <a:hlinkClick r:id="rId7"/>
                </a:rPr>
                <a:t>http://www.microsoft.com/en-us/server-cloud/products/windows-azure-pack</a:t>
              </a:r>
              <a:endParaRPr lang="en-US" sz="1632" dirty="0">
                <a:solidFill>
                  <a:srgbClr val="000000"/>
                </a:solidFill>
              </a:endParaRPr>
            </a:p>
          </p:txBody>
        </p:sp>
      </p:grpSp>
    </p:spTree>
    <p:extLst>
      <p:ext uri="{BB962C8B-B14F-4D97-AF65-F5344CB8AC3E}">
        <p14:creationId xmlns:p14="http://schemas.microsoft.com/office/powerpoint/2010/main" val="36900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000000"/>
                      </a:gs>
                      <a:gs pos="100000">
                        <a:srgbClr val="000000"/>
                      </a:gs>
                    </a:gsLst>
                    <a:lin ang="5400000" scaled="0"/>
                  </a:gradFill>
                  <a:ea typeface="Segoe UI" pitchFamily="34" charset="0"/>
                  <a:cs typeface="Segoe UI" pitchFamily="34" charset="0"/>
                </a:rPr>
                <a:t>Sessions on Demand</a:t>
              </a:r>
              <a:endParaRPr lang="en-US" sz="1600" dirty="0">
                <a:gradFill>
                  <a:gsLst>
                    <a:gs pos="1250">
                      <a:srgbClr val="000000"/>
                    </a:gs>
                    <a:gs pos="100000">
                      <a:srgbClr val="00000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372819802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4052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a:t>
            </a:r>
            <a:r>
              <a:rPr lang="en-US" sz="4400" dirty="0">
                <a:gradFill>
                  <a:gsLst>
                    <a:gs pos="83000">
                      <a:srgbClr val="FFFFFF"/>
                    </a:gs>
                    <a:gs pos="100000">
                      <a:srgbClr val="0072C6">
                        <a:lumMod val="30000"/>
                        <a:lumOff val="70000"/>
                      </a:srgbClr>
                    </a:gs>
                  </a:gsLst>
                  <a:lin ang="5400000" scaled="1"/>
                </a:gradFill>
              </a:rPr>
              <a:t>session.</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4114417074"/>
      </p:ext>
    </p:extLst>
  </p:cSld>
  <p:clrMapOvr>
    <a:masterClrMapping/>
  </p:clrMapOvr>
  <p:transition spd="slow">
    <p:push/>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a:t>
            </a:r>
            <a:r>
              <a:rPr lang="en-US" sz="700" dirty="0" smtClean="0">
                <a:gradFill>
                  <a:gsLst>
                    <a:gs pos="0">
                      <a:srgbClr val="FFFFFF"/>
                    </a:gs>
                    <a:gs pos="100000">
                      <a:srgbClr val="FFFFFF"/>
                    </a:gs>
                  </a:gsLst>
                  <a:lin ang="5400000" scaled="0"/>
                </a:gradFill>
                <a:cs typeface="Segoe UI" pitchFamily="34" charset="0"/>
              </a:rPr>
              <a:t>and </a:t>
            </a:r>
            <a:r>
              <a:rPr lang="en-US" sz="700"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16564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bwMode="auto">
          <a:xfrm>
            <a:off x="-1" y="1816100"/>
            <a:ext cx="7396311" cy="505926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5" name="Group 14"/>
          <p:cNvGrpSpPr/>
          <p:nvPr/>
        </p:nvGrpSpPr>
        <p:grpSpPr>
          <a:xfrm>
            <a:off x="7397777" y="2134116"/>
            <a:ext cx="3470851" cy="3541170"/>
            <a:chOff x="7397777" y="2134116"/>
            <a:chExt cx="3470851" cy="3541170"/>
          </a:xfrm>
        </p:grpSpPr>
        <p:grpSp>
          <p:nvGrpSpPr>
            <p:cNvPr id="71" name="Group 70"/>
            <p:cNvGrpSpPr/>
            <p:nvPr/>
          </p:nvGrpSpPr>
          <p:grpSpPr>
            <a:xfrm>
              <a:off x="7397777" y="2134116"/>
              <a:ext cx="3470851" cy="3541170"/>
              <a:chOff x="7724433" y="2125663"/>
              <a:chExt cx="3564273" cy="3636485"/>
            </a:xfrm>
          </p:grpSpPr>
          <p:sp>
            <p:nvSpPr>
              <p:cNvPr id="6" name="Rectangle 5"/>
              <p:cNvSpPr/>
              <p:nvPr/>
            </p:nvSpPr>
            <p:spPr bwMode="auto">
              <a:xfrm>
                <a:off x="7724433" y="2125663"/>
                <a:ext cx="3564273" cy="3636485"/>
              </a:xfrm>
              <a:prstGeom prst="rect">
                <a:avLst/>
              </a:prstGeom>
              <a:solidFill>
                <a:schemeClr val="tx1"/>
              </a:solidFill>
              <a:ln w="381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Segoe UI Light"/>
                </a:endParaRPr>
              </a:p>
            </p:txBody>
          </p:sp>
          <p:sp>
            <p:nvSpPr>
              <p:cNvPr id="9" name="Rectangle 8"/>
              <p:cNvSpPr/>
              <p:nvPr/>
            </p:nvSpPr>
            <p:spPr>
              <a:xfrm>
                <a:off x="7816276" y="2224850"/>
                <a:ext cx="2016862" cy="600515"/>
              </a:xfrm>
              <a:prstGeom prst="rect">
                <a:avLst/>
              </a:prstGeom>
            </p:spPr>
            <p:txBody>
              <a:bodyPr wrap="none">
                <a:spAutoFit/>
              </a:bodyPr>
              <a:lstStyle/>
              <a:p>
                <a:pPr algn="ctr" defTabSz="951028" fontAlgn="base">
                  <a:spcBef>
                    <a:spcPct val="0"/>
                  </a:spcBef>
                  <a:spcAft>
                    <a:spcPct val="0"/>
                  </a:spcAft>
                </a:pPr>
                <a:r>
                  <a:rPr lang="en-US" sz="3200" dirty="0" smtClean="0">
                    <a:gradFill>
                      <a:gsLst>
                        <a:gs pos="0">
                          <a:srgbClr val="0072C6"/>
                        </a:gs>
                        <a:gs pos="100000">
                          <a:srgbClr val="0072C6"/>
                        </a:gs>
                      </a:gsLst>
                      <a:lin ang="5400000" scaled="0"/>
                    </a:gradFill>
                    <a:latin typeface="Segoe UI Light"/>
                  </a:rPr>
                  <a:t>Shadow IT</a:t>
                </a:r>
                <a:endParaRPr lang="en-US" sz="3200" dirty="0">
                  <a:gradFill>
                    <a:gsLst>
                      <a:gs pos="0">
                        <a:srgbClr val="0072C6"/>
                      </a:gs>
                      <a:gs pos="100000">
                        <a:srgbClr val="0072C6"/>
                      </a:gs>
                    </a:gsLst>
                    <a:lin ang="5400000" scaled="0"/>
                  </a:gradFill>
                  <a:latin typeface="Segoe UI Light"/>
                </a:endParaRPr>
              </a:p>
            </p:txBody>
          </p:sp>
        </p:grpSp>
        <p:grpSp>
          <p:nvGrpSpPr>
            <p:cNvPr id="83" name="Group 82"/>
            <p:cNvGrpSpPr/>
            <p:nvPr/>
          </p:nvGrpSpPr>
          <p:grpSpPr>
            <a:xfrm>
              <a:off x="9339277" y="4429888"/>
              <a:ext cx="1306678" cy="1104185"/>
              <a:chOff x="-1687513" y="-760413"/>
              <a:chExt cx="1741488" cy="1471613"/>
            </a:xfrm>
            <a:solidFill>
              <a:schemeClr val="accent1"/>
            </a:solidFill>
          </p:grpSpPr>
          <p:sp>
            <p:nvSpPr>
              <p:cNvPr id="80" name="Freeform 21"/>
              <p:cNvSpPr>
                <a:spLocks/>
              </p:cNvSpPr>
              <p:nvPr/>
            </p:nvSpPr>
            <p:spPr bwMode="auto">
              <a:xfrm>
                <a:off x="-1687513" y="-760413"/>
                <a:ext cx="1741488" cy="1349376"/>
              </a:xfrm>
              <a:custGeom>
                <a:avLst/>
                <a:gdLst>
                  <a:gd name="T0" fmla="*/ 2404 w 2404"/>
                  <a:gd name="T1" fmla="*/ 1413 h 1863"/>
                  <a:gd name="T2" fmla="*/ 2357 w 2404"/>
                  <a:gd name="T3" fmla="*/ 1317 h 1863"/>
                  <a:gd name="T4" fmla="*/ 2157 w 2404"/>
                  <a:gd name="T5" fmla="*/ 1081 h 1863"/>
                  <a:gd name="T6" fmla="*/ 2132 w 2404"/>
                  <a:gd name="T7" fmla="*/ 1017 h 1863"/>
                  <a:gd name="T8" fmla="*/ 2131 w 2404"/>
                  <a:gd name="T9" fmla="*/ 322 h 1863"/>
                  <a:gd name="T10" fmla="*/ 2060 w 2404"/>
                  <a:gd name="T11" fmla="*/ 248 h 1863"/>
                  <a:gd name="T12" fmla="*/ 333 w 2404"/>
                  <a:gd name="T13" fmla="*/ 248 h 1863"/>
                  <a:gd name="T14" fmla="*/ 267 w 2404"/>
                  <a:gd name="T15" fmla="*/ 312 h 1863"/>
                  <a:gd name="T16" fmla="*/ 267 w 2404"/>
                  <a:gd name="T17" fmla="*/ 1547 h 1863"/>
                  <a:gd name="T18" fmla="*/ 332 w 2404"/>
                  <a:gd name="T19" fmla="*/ 1611 h 1863"/>
                  <a:gd name="T20" fmla="*/ 1163 w 2404"/>
                  <a:gd name="T21" fmla="*/ 1611 h 1863"/>
                  <a:gd name="T22" fmla="*/ 1215 w 2404"/>
                  <a:gd name="T23" fmla="*/ 1613 h 1863"/>
                  <a:gd name="T24" fmla="*/ 1239 w 2404"/>
                  <a:gd name="T25" fmla="*/ 1635 h 1863"/>
                  <a:gd name="T26" fmla="*/ 1336 w 2404"/>
                  <a:gd name="T27" fmla="*/ 1847 h 1863"/>
                  <a:gd name="T28" fmla="*/ 1280 w 2404"/>
                  <a:gd name="T29" fmla="*/ 1857 h 1863"/>
                  <a:gd name="T30" fmla="*/ 219 w 2404"/>
                  <a:gd name="T31" fmla="*/ 1858 h 1863"/>
                  <a:gd name="T32" fmla="*/ 0 w 2404"/>
                  <a:gd name="T33" fmla="*/ 1723 h 1863"/>
                  <a:gd name="T34" fmla="*/ 0 w 2404"/>
                  <a:gd name="T35" fmla="*/ 136 h 1863"/>
                  <a:gd name="T36" fmla="*/ 223 w 2404"/>
                  <a:gd name="T37" fmla="*/ 0 h 1863"/>
                  <a:gd name="T38" fmla="*/ 2184 w 2404"/>
                  <a:gd name="T39" fmla="*/ 0 h 1863"/>
                  <a:gd name="T40" fmla="*/ 2404 w 2404"/>
                  <a:gd name="T41" fmla="*/ 145 h 1863"/>
                  <a:gd name="T42" fmla="*/ 2404 w 2404"/>
                  <a:gd name="T43" fmla="*/ 1413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04" h="1863">
                    <a:moveTo>
                      <a:pt x="2404" y="1413"/>
                    </a:moveTo>
                    <a:cubicBezTo>
                      <a:pt x="2378" y="1386"/>
                      <a:pt x="2373" y="1349"/>
                      <a:pt x="2357" y="1317"/>
                    </a:cubicBezTo>
                    <a:cubicBezTo>
                      <a:pt x="2310" y="1222"/>
                      <a:pt x="2255" y="1133"/>
                      <a:pt x="2157" y="1081"/>
                    </a:cubicBezTo>
                    <a:cubicBezTo>
                      <a:pt x="2129" y="1066"/>
                      <a:pt x="2132" y="1041"/>
                      <a:pt x="2132" y="1017"/>
                    </a:cubicBezTo>
                    <a:cubicBezTo>
                      <a:pt x="2131" y="785"/>
                      <a:pt x="2132" y="553"/>
                      <a:pt x="2131" y="322"/>
                    </a:cubicBezTo>
                    <a:cubicBezTo>
                      <a:pt x="2131" y="248"/>
                      <a:pt x="2131" y="248"/>
                      <a:pt x="2060" y="248"/>
                    </a:cubicBezTo>
                    <a:cubicBezTo>
                      <a:pt x="1484" y="248"/>
                      <a:pt x="908" y="248"/>
                      <a:pt x="333" y="248"/>
                    </a:cubicBezTo>
                    <a:cubicBezTo>
                      <a:pt x="267" y="248"/>
                      <a:pt x="267" y="248"/>
                      <a:pt x="267" y="312"/>
                    </a:cubicBezTo>
                    <a:cubicBezTo>
                      <a:pt x="267" y="723"/>
                      <a:pt x="267" y="1135"/>
                      <a:pt x="267" y="1547"/>
                    </a:cubicBezTo>
                    <a:cubicBezTo>
                      <a:pt x="267" y="1611"/>
                      <a:pt x="267" y="1611"/>
                      <a:pt x="332" y="1611"/>
                    </a:cubicBezTo>
                    <a:cubicBezTo>
                      <a:pt x="609" y="1611"/>
                      <a:pt x="886" y="1611"/>
                      <a:pt x="1163" y="1611"/>
                    </a:cubicBezTo>
                    <a:cubicBezTo>
                      <a:pt x="1180" y="1611"/>
                      <a:pt x="1198" y="1611"/>
                      <a:pt x="1215" y="1613"/>
                    </a:cubicBezTo>
                    <a:cubicBezTo>
                      <a:pt x="1228" y="1614"/>
                      <a:pt x="1242" y="1619"/>
                      <a:pt x="1239" y="1635"/>
                    </a:cubicBezTo>
                    <a:cubicBezTo>
                      <a:pt x="1221" y="1727"/>
                      <a:pt x="1266" y="1792"/>
                      <a:pt x="1336" y="1847"/>
                    </a:cubicBezTo>
                    <a:cubicBezTo>
                      <a:pt x="1317" y="1863"/>
                      <a:pt x="1297" y="1857"/>
                      <a:pt x="1280" y="1857"/>
                    </a:cubicBezTo>
                    <a:cubicBezTo>
                      <a:pt x="926" y="1857"/>
                      <a:pt x="573" y="1855"/>
                      <a:pt x="219" y="1858"/>
                    </a:cubicBezTo>
                    <a:cubicBezTo>
                      <a:pt x="113" y="1859"/>
                      <a:pt x="42" y="1818"/>
                      <a:pt x="0" y="1723"/>
                    </a:cubicBezTo>
                    <a:cubicBezTo>
                      <a:pt x="0" y="1194"/>
                      <a:pt x="0" y="665"/>
                      <a:pt x="0" y="136"/>
                    </a:cubicBezTo>
                    <a:cubicBezTo>
                      <a:pt x="43" y="38"/>
                      <a:pt x="117" y="0"/>
                      <a:pt x="223" y="0"/>
                    </a:cubicBezTo>
                    <a:cubicBezTo>
                      <a:pt x="877" y="2"/>
                      <a:pt x="1531" y="2"/>
                      <a:pt x="2184" y="0"/>
                    </a:cubicBezTo>
                    <a:cubicBezTo>
                      <a:pt x="2294" y="0"/>
                      <a:pt x="2367" y="42"/>
                      <a:pt x="2404" y="145"/>
                    </a:cubicBezTo>
                    <a:cubicBezTo>
                      <a:pt x="2404" y="568"/>
                      <a:pt x="2404" y="990"/>
                      <a:pt x="2404" y="14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22"/>
              <p:cNvSpPr>
                <a:spLocks/>
              </p:cNvSpPr>
              <p:nvPr/>
            </p:nvSpPr>
            <p:spPr bwMode="auto">
              <a:xfrm>
                <a:off x="-781050" y="-19050"/>
                <a:ext cx="835025" cy="730250"/>
              </a:xfrm>
              <a:custGeom>
                <a:avLst/>
                <a:gdLst>
                  <a:gd name="T0" fmla="*/ 1153 w 1153"/>
                  <a:gd name="T1" fmla="*/ 700 h 1009"/>
                  <a:gd name="T2" fmla="*/ 751 w 1153"/>
                  <a:gd name="T3" fmla="*/ 984 h 1009"/>
                  <a:gd name="T4" fmla="*/ 661 w 1153"/>
                  <a:gd name="T5" fmla="*/ 984 h 1009"/>
                  <a:gd name="T6" fmla="*/ 214 w 1153"/>
                  <a:gd name="T7" fmla="*/ 762 h 1009"/>
                  <a:gd name="T8" fmla="*/ 136 w 1153"/>
                  <a:gd name="T9" fmla="*/ 728 h 1009"/>
                  <a:gd name="T10" fmla="*/ 92 w 1153"/>
                  <a:gd name="T11" fmla="*/ 637 h 1009"/>
                  <a:gd name="T12" fmla="*/ 165 w 1153"/>
                  <a:gd name="T13" fmla="*/ 566 h 1009"/>
                  <a:gd name="T14" fmla="*/ 307 w 1153"/>
                  <a:gd name="T15" fmla="*/ 574 h 1009"/>
                  <a:gd name="T16" fmla="*/ 273 w 1153"/>
                  <a:gd name="T17" fmla="*/ 515 h 1009"/>
                  <a:gd name="T18" fmla="*/ 31 w 1153"/>
                  <a:gd name="T19" fmla="*/ 175 h 1009"/>
                  <a:gd name="T20" fmla="*/ 2 w 1153"/>
                  <a:gd name="T21" fmla="*/ 111 h 1009"/>
                  <a:gd name="T22" fmla="*/ 58 w 1153"/>
                  <a:gd name="T23" fmla="*/ 18 h 1009"/>
                  <a:gd name="T24" fmla="*/ 170 w 1153"/>
                  <a:gd name="T25" fmla="*/ 51 h 1009"/>
                  <a:gd name="T26" fmla="*/ 351 w 1153"/>
                  <a:gd name="T27" fmla="*/ 303 h 1009"/>
                  <a:gd name="T28" fmla="*/ 412 w 1153"/>
                  <a:gd name="T29" fmla="*/ 344 h 1009"/>
                  <a:gd name="T30" fmla="*/ 393 w 1153"/>
                  <a:gd name="T31" fmla="*/ 276 h 1009"/>
                  <a:gd name="T32" fmla="*/ 411 w 1153"/>
                  <a:gd name="T33" fmla="*/ 221 h 1009"/>
                  <a:gd name="T34" fmla="*/ 545 w 1153"/>
                  <a:gd name="T35" fmla="*/ 268 h 1009"/>
                  <a:gd name="T36" fmla="*/ 566 w 1153"/>
                  <a:gd name="T37" fmla="*/ 293 h 1009"/>
                  <a:gd name="T38" fmla="*/ 596 w 1153"/>
                  <a:gd name="T39" fmla="*/ 297 h 1009"/>
                  <a:gd name="T40" fmla="*/ 604 w 1153"/>
                  <a:gd name="T41" fmla="*/ 268 h 1009"/>
                  <a:gd name="T42" fmla="*/ 596 w 1153"/>
                  <a:gd name="T43" fmla="*/ 251 h 1009"/>
                  <a:gd name="T44" fmla="*/ 575 w 1153"/>
                  <a:gd name="T45" fmla="*/ 186 h 1009"/>
                  <a:gd name="T46" fmla="*/ 702 w 1153"/>
                  <a:gd name="T47" fmla="*/ 189 h 1009"/>
                  <a:gd name="T48" fmla="*/ 736 w 1153"/>
                  <a:gd name="T49" fmla="*/ 234 h 1009"/>
                  <a:gd name="T50" fmla="*/ 775 w 1153"/>
                  <a:gd name="T51" fmla="*/ 247 h 1009"/>
                  <a:gd name="T52" fmla="*/ 779 w 1153"/>
                  <a:gd name="T53" fmla="*/ 209 h 1009"/>
                  <a:gd name="T54" fmla="*/ 756 w 1153"/>
                  <a:gd name="T55" fmla="*/ 153 h 1009"/>
                  <a:gd name="T56" fmla="*/ 841 w 1153"/>
                  <a:gd name="T57" fmla="*/ 146 h 1009"/>
                  <a:gd name="T58" fmla="*/ 931 w 1153"/>
                  <a:gd name="T59" fmla="*/ 210 h 1009"/>
                  <a:gd name="T60" fmla="*/ 1057 w 1153"/>
                  <a:gd name="T61" fmla="*/ 460 h 1009"/>
                  <a:gd name="T62" fmla="*/ 1153 w 1153"/>
                  <a:gd name="T63" fmla="*/ 672 h 1009"/>
                  <a:gd name="T64" fmla="*/ 1153 w 1153"/>
                  <a:gd name="T65" fmla="*/ 700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3" h="1009">
                    <a:moveTo>
                      <a:pt x="1153" y="700"/>
                    </a:moveTo>
                    <a:cubicBezTo>
                      <a:pt x="1019" y="794"/>
                      <a:pt x="884" y="887"/>
                      <a:pt x="751" y="984"/>
                    </a:cubicBezTo>
                    <a:cubicBezTo>
                      <a:pt x="717" y="1009"/>
                      <a:pt x="694" y="1009"/>
                      <a:pt x="661" y="984"/>
                    </a:cubicBezTo>
                    <a:cubicBezTo>
                      <a:pt x="525" y="885"/>
                      <a:pt x="374" y="813"/>
                      <a:pt x="214" y="762"/>
                    </a:cubicBezTo>
                    <a:cubicBezTo>
                      <a:pt x="187" y="753"/>
                      <a:pt x="160" y="744"/>
                      <a:pt x="136" y="728"/>
                    </a:cubicBezTo>
                    <a:cubicBezTo>
                      <a:pt x="104" y="707"/>
                      <a:pt x="83" y="678"/>
                      <a:pt x="92" y="637"/>
                    </a:cubicBezTo>
                    <a:cubicBezTo>
                      <a:pt x="100" y="598"/>
                      <a:pt x="127" y="576"/>
                      <a:pt x="165" y="566"/>
                    </a:cubicBezTo>
                    <a:cubicBezTo>
                      <a:pt x="211" y="555"/>
                      <a:pt x="257" y="566"/>
                      <a:pt x="307" y="574"/>
                    </a:cubicBezTo>
                    <a:cubicBezTo>
                      <a:pt x="302" y="547"/>
                      <a:pt x="285" y="532"/>
                      <a:pt x="273" y="515"/>
                    </a:cubicBezTo>
                    <a:cubicBezTo>
                      <a:pt x="193" y="401"/>
                      <a:pt x="112" y="288"/>
                      <a:pt x="31" y="175"/>
                    </a:cubicBezTo>
                    <a:cubicBezTo>
                      <a:pt x="17" y="155"/>
                      <a:pt x="3" y="136"/>
                      <a:pt x="2" y="111"/>
                    </a:cubicBezTo>
                    <a:cubicBezTo>
                      <a:pt x="0" y="68"/>
                      <a:pt x="17" y="35"/>
                      <a:pt x="58" y="18"/>
                    </a:cubicBezTo>
                    <a:cubicBezTo>
                      <a:pt x="99" y="0"/>
                      <a:pt x="142" y="12"/>
                      <a:pt x="170" y="51"/>
                    </a:cubicBezTo>
                    <a:cubicBezTo>
                      <a:pt x="231" y="135"/>
                      <a:pt x="290" y="220"/>
                      <a:pt x="351" y="303"/>
                    </a:cubicBezTo>
                    <a:cubicBezTo>
                      <a:pt x="367" y="323"/>
                      <a:pt x="380" y="366"/>
                      <a:pt x="412" y="344"/>
                    </a:cubicBezTo>
                    <a:cubicBezTo>
                      <a:pt x="448" y="320"/>
                      <a:pt x="406" y="296"/>
                      <a:pt x="393" y="276"/>
                    </a:cubicBezTo>
                    <a:cubicBezTo>
                      <a:pt x="373" y="246"/>
                      <a:pt x="373" y="232"/>
                      <a:pt x="411" y="221"/>
                    </a:cubicBezTo>
                    <a:cubicBezTo>
                      <a:pt x="486" y="201"/>
                      <a:pt x="496" y="204"/>
                      <a:pt x="545" y="268"/>
                    </a:cubicBezTo>
                    <a:cubicBezTo>
                      <a:pt x="552" y="277"/>
                      <a:pt x="558" y="286"/>
                      <a:pt x="566" y="293"/>
                    </a:cubicBezTo>
                    <a:cubicBezTo>
                      <a:pt x="575" y="302"/>
                      <a:pt x="585" y="304"/>
                      <a:pt x="596" y="297"/>
                    </a:cubicBezTo>
                    <a:cubicBezTo>
                      <a:pt x="607" y="290"/>
                      <a:pt x="607" y="279"/>
                      <a:pt x="604" y="268"/>
                    </a:cubicBezTo>
                    <a:cubicBezTo>
                      <a:pt x="602" y="262"/>
                      <a:pt x="597" y="257"/>
                      <a:pt x="596" y="251"/>
                    </a:cubicBezTo>
                    <a:cubicBezTo>
                      <a:pt x="589" y="229"/>
                      <a:pt x="547" y="214"/>
                      <a:pt x="575" y="186"/>
                    </a:cubicBezTo>
                    <a:cubicBezTo>
                      <a:pt x="600" y="160"/>
                      <a:pt x="680" y="165"/>
                      <a:pt x="702" y="189"/>
                    </a:cubicBezTo>
                    <a:cubicBezTo>
                      <a:pt x="714" y="203"/>
                      <a:pt x="724" y="220"/>
                      <a:pt x="736" y="234"/>
                    </a:cubicBezTo>
                    <a:cubicBezTo>
                      <a:pt x="746" y="246"/>
                      <a:pt x="757" y="260"/>
                      <a:pt x="775" y="247"/>
                    </a:cubicBezTo>
                    <a:cubicBezTo>
                      <a:pt x="788" y="237"/>
                      <a:pt x="784" y="223"/>
                      <a:pt x="779" y="209"/>
                    </a:cubicBezTo>
                    <a:cubicBezTo>
                      <a:pt x="772" y="189"/>
                      <a:pt x="739" y="172"/>
                      <a:pt x="756" y="153"/>
                    </a:cubicBezTo>
                    <a:cubicBezTo>
                      <a:pt x="777" y="131"/>
                      <a:pt x="813" y="140"/>
                      <a:pt x="841" y="146"/>
                    </a:cubicBezTo>
                    <a:cubicBezTo>
                      <a:pt x="879" y="154"/>
                      <a:pt x="907" y="181"/>
                      <a:pt x="931" y="210"/>
                    </a:cubicBezTo>
                    <a:cubicBezTo>
                      <a:pt x="993" y="284"/>
                      <a:pt x="1030" y="369"/>
                      <a:pt x="1057" y="460"/>
                    </a:cubicBezTo>
                    <a:cubicBezTo>
                      <a:pt x="1079" y="535"/>
                      <a:pt x="1101" y="610"/>
                      <a:pt x="1153" y="672"/>
                    </a:cubicBezTo>
                    <a:cubicBezTo>
                      <a:pt x="1153" y="681"/>
                      <a:pt x="1153" y="690"/>
                      <a:pt x="1153" y="7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23"/>
              <p:cNvSpPr>
                <a:spLocks/>
              </p:cNvSpPr>
              <p:nvPr/>
            </p:nvSpPr>
            <p:spPr bwMode="auto">
              <a:xfrm>
                <a:off x="-885825" y="-130175"/>
                <a:ext cx="230188" cy="201613"/>
              </a:xfrm>
              <a:custGeom>
                <a:avLst/>
                <a:gdLst>
                  <a:gd name="T0" fmla="*/ 76 w 317"/>
                  <a:gd name="T1" fmla="*/ 279 h 279"/>
                  <a:gd name="T2" fmla="*/ 16 w 317"/>
                  <a:gd name="T3" fmla="*/ 123 h 279"/>
                  <a:gd name="T4" fmla="*/ 155 w 317"/>
                  <a:gd name="T5" fmla="*/ 4 h 279"/>
                  <a:gd name="T6" fmla="*/ 306 w 317"/>
                  <a:gd name="T7" fmla="*/ 85 h 279"/>
                  <a:gd name="T8" fmla="*/ 308 w 317"/>
                  <a:gd name="T9" fmla="*/ 110 h 279"/>
                  <a:gd name="T10" fmla="*/ 291 w 317"/>
                  <a:gd name="T11" fmla="*/ 109 h 279"/>
                  <a:gd name="T12" fmla="*/ 80 w 317"/>
                  <a:gd name="T13" fmla="*/ 266 h 279"/>
                  <a:gd name="T14" fmla="*/ 76 w 317"/>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279">
                    <a:moveTo>
                      <a:pt x="76" y="279"/>
                    </a:moveTo>
                    <a:cubicBezTo>
                      <a:pt x="21" y="242"/>
                      <a:pt x="0" y="185"/>
                      <a:pt x="16" y="123"/>
                    </a:cubicBezTo>
                    <a:cubicBezTo>
                      <a:pt x="33" y="55"/>
                      <a:pt x="87" y="9"/>
                      <a:pt x="155" y="4"/>
                    </a:cubicBezTo>
                    <a:cubicBezTo>
                      <a:pt x="221" y="0"/>
                      <a:pt x="284" y="33"/>
                      <a:pt x="306" y="85"/>
                    </a:cubicBezTo>
                    <a:cubicBezTo>
                      <a:pt x="310" y="93"/>
                      <a:pt x="317" y="102"/>
                      <a:pt x="308" y="110"/>
                    </a:cubicBezTo>
                    <a:cubicBezTo>
                      <a:pt x="305" y="112"/>
                      <a:pt x="297" y="110"/>
                      <a:pt x="291" y="109"/>
                    </a:cubicBezTo>
                    <a:cubicBezTo>
                      <a:pt x="154" y="76"/>
                      <a:pt x="87" y="126"/>
                      <a:pt x="80" y="266"/>
                    </a:cubicBezTo>
                    <a:cubicBezTo>
                      <a:pt x="80" y="269"/>
                      <a:pt x="78" y="272"/>
                      <a:pt x="76"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67" name="Rectangle 66"/>
          <p:cNvSpPr/>
          <p:nvPr/>
        </p:nvSpPr>
        <p:spPr bwMode="auto">
          <a:xfrm>
            <a:off x="-12700" y="1374280"/>
            <a:ext cx="3834554" cy="550108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4" name="Group 13"/>
          <p:cNvGrpSpPr/>
          <p:nvPr/>
        </p:nvGrpSpPr>
        <p:grpSpPr>
          <a:xfrm>
            <a:off x="3835701" y="2134116"/>
            <a:ext cx="3589234" cy="3541170"/>
            <a:chOff x="3835701" y="2134116"/>
            <a:chExt cx="3589234" cy="3541170"/>
          </a:xfrm>
        </p:grpSpPr>
        <p:sp>
          <p:nvSpPr>
            <p:cNvPr id="5" name="Rectangle 4"/>
            <p:cNvSpPr/>
            <p:nvPr/>
          </p:nvSpPr>
          <p:spPr bwMode="auto">
            <a:xfrm>
              <a:off x="3835701" y="2134116"/>
              <a:ext cx="3470851" cy="3541170"/>
            </a:xfrm>
            <a:prstGeom prst="rect">
              <a:avLst/>
            </a:prstGeom>
            <a:solidFill>
              <a:schemeClr val="tx1"/>
            </a:solidFill>
            <a:ln w="381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Segoe UI Light"/>
              </a:endParaRPr>
            </a:p>
          </p:txBody>
        </p:sp>
        <p:sp>
          <p:nvSpPr>
            <p:cNvPr id="24" name="Rectangle 23"/>
            <p:cNvSpPr/>
            <p:nvPr/>
          </p:nvSpPr>
          <p:spPr>
            <a:xfrm>
              <a:off x="3897979" y="2224289"/>
              <a:ext cx="3526956" cy="1569660"/>
            </a:xfrm>
            <a:prstGeom prst="rect">
              <a:avLst/>
            </a:prstGeom>
          </p:spPr>
          <p:txBody>
            <a:bodyPr wrap="square">
              <a:spAutoFit/>
            </a:bodyPr>
            <a:lstStyle/>
            <a:p>
              <a:pPr defTabSz="951028" fontAlgn="base">
                <a:spcBef>
                  <a:spcPct val="0"/>
                </a:spcBef>
                <a:spcAft>
                  <a:spcPct val="0"/>
                </a:spcAft>
              </a:pPr>
              <a:r>
                <a:rPr lang="en-US" sz="3200" dirty="0" smtClean="0">
                  <a:gradFill>
                    <a:gsLst>
                      <a:gs pos="0">
                        <a:srgbClr val="0072C6"/>
                      </a:gs>
                      <a:gs pos="100000">
                        <a:srgbClr val="0072C6"/>
                      </a:gs>
                    </a:gsLst>
                    <a:lin ang="5400000" scaled="0"/>
                  </a:gradFill>
                  <a:latin typeface="Segoe UI Light"/>
                </a:rPr>
                <a:t>Accessing everything from everywhere</a:t>
              </a:r>
              <a:endParaRPr lang="en-US" sz="3200" dirty="0">
                <a:gradFill>
                  <a:gsLst>
                    <a:gs pos="0">
                      <a:srgbClr val="0072C6"/>
                    </a:gs>
                    <a:gs pos="100000">
                      <a:srgbClr val="0072C6"/>
                    </a:gs>
                  </a:gsLst>
                  <a:lin ang="5400000" scaled="0"/>
                </a:gradFill>
                <a:latin typeface="Segoe UI Light"/>
              </a:endParaRPr>
            </a:p>
          </p:txBody>
        </p:sp>
        <p:grpSp>
          <p:nvGrpSpPr>
            <p:cNvPr id="76" name="Group 75"/>
            <p:cNvGrpSpPr/>
            <p:nvPr/>
          </p:nvGrpSpPr>
          <p:grpSpPr>
            <a:xfrm>
              <a:off x="5806761" y="4365711"/>
              <a:ext cx="1260948" cy="1108645"/>
              <a:chOff x="6226629" y="4679036"/>
              <a:chExt cx="904579" cy="795320"/>
            </a:xfrm>
            <a:solidFill>
              <a:schemeClr val="accent1"/>
            </a:solidFill>
          </p:grpSpPr>
          <p:sp>
            <p:nvSpPr>
              <p:cNvPr id="74" name="Freeform 16"/>
              <p:cNvSpPr>
                <a:spLocks/>
              </p:cNvSpPr>
              <p:nvPr/>
            </p:nvSpPr>
            <p:spPr bwMode="auto">
              <a:xfrm>
                <a:off x="6226629" y="4725075"/>
                <a:ext cx="606269" cy="650598"/>
              </a:xfrm>
              <a:custGeom>
                <a:avLst/>
                <a:gdLst>
                  <a:gd name="T0" fmla="*/ 317 w 1453"/>
                  <a:gd name="T1" fmla="*/ 1481 h 1562"/>
                  <a:gd name="T2" fmla="*/ 694 w 1453"/>
                  <a:gd name="T3" fmla="*/ 1562 h 1562"/>
                  <a:gd name="T4" fmla="*/ 804 w 1453"/>
                  <a:gd name="T5" fmla="*/ 1552 h 1562"/>
                  <a:gd name="T6" fmla="*/ 734 w 1453"/>
                  <a:gd name="T7" fmla="*/ 1381 h 1562"/>
                  <a:gd name="T8" fmla="*/ 679 w 1453"/>
                  <a:gd name="T9" fmla="*/ 1286 h 1562"/>
                  <a:gd name="T10" fmla="*/ 498 w 1453"/>
                  <a:gd name="T11" fmla="*/ 1155 h 1562"/>
                  <a:gd name="T12" fmla="*/ 296 w 1453"/>
                  <a:gd name="T13" fmla="*/ 929 h 1562"/>
                  <a:gd name="T14" fmla="*/ 317 w 1453"/>
                  <a:gd name="T15" fmla="*/ 472 h 1562"/>
                  <a:gd name="T16" fmla="*/ 296 w 1453"/>
                  <a:gd name="T17" fmla="*/ 382 h 1562"/>
                  <a:gd name="T18" fmla="*/ 337 w 1453"/>
                  <a:gd name="T19" fmla="*/ 337 h 1562"/>
                  <a:gd name="T20" fmla="*/ 452 w 1453"/>
                  <a:gd name="T21" fmla="*/ 241 h 1562"/>
                  <a:gd name="T22" fmla="*/ 578 w 1453"/>
                  <a:gd name="T23" fmla="*/ 231 h 1562"/>
                  <a:gd name="T24" fmla="*/ 744 w 1453"/>
                  <a:gd name="T25" fmla="*/ 176 h 1562"/>
                  <a:gd name="T26" fmla="*/ 819 w 1453"/>
                  <a:gd name="T27" fmla="*/ 106 h 1562"/>
                  <a:gd name="T28" fmla="*/ 910 w 1453"/>
                  <a:gd name="T29" fmla="*/ 101 h 1562"/>
                  <a:gd name="T30" fmla="*/ 945 w 1453"/>
                  <a:gd name="T31" fmla="*/ 101 h 1562"/>
                  <a:gd name="T32" fmla="*/ 970 w 1453"/>
                  <a:gd name="T33" fmla="*/ 246 h 1562"/>
                  <a:gd name="T34" fmla="*/ 910 w 1453"/>
                  <a:gd name="T35" fmla="*/ 297 h 1562"/>
                  <a:gd name="T36" fmla="*/ 714 w 1453"/>
                  <a:gd name="T37" fmla="*/ 342 h 1562"/>
                  <a:gd name="T38" fmla="*/ 754 w 1453"/>
                  <a:gd name="T39" fmla="*/ 482 h 1562"/>
                  <a:gd name="T40" fmla="*/ 839 w 1453"/>
                  <a:gd name="T41" fmla="*/ 427 h 1562"/>
                  <a:gd name="T42" fmla="*/ 935 w 1453"/>
                  <a:gd name="T43" fmla="*/ 397 h 1562"/>
                  <a:gd name="T44" fmla="*/ 1031 w 1453"/>
                  <a:gd name="T45" fmla="*/ 432 h 1562"/>
                  <a:gd name="T46" fmla="*/ 1000 w 1453"/>
                  <a:gd name="T47" fmla="*/ 623 h 1562"/>
                  <a:gd name="T48" fmla="*/ 744 w 1453"/>
                  <a:gd name="T49" fmla="*/ 869 h 1562"/>
                  <a:gd name="T50" fmla="*/ 528 w 1453"/>
                  <a:gd name="T51" fmla="*/ 944 h 1562"/>
                  <a:gd name="T52" fmla="*/ 523 w 1453"/>
                  <a:gd name="T53" fmla="*/ 1100 h 1562"/>
                  <a:gd name="T54" fmla="*/ 694 w 1453"/>
                  <a:gd name="T55" fmla="*/ 1205 h 1562"/>
                  <a:gd name="T56" fmla="*/ 1036 w 1453"/>
                  <a:gd name="T57" fmla="*/ 1296 h 1562"/>
                  <a:gd name="T58" fmla="*/ 1161 w 1453"/>
                  <a:gd name="T59" fmla="*/ 1411 h 1562"/>
                  <a:gd name="T60" fmla="*/ 1307 w 1453"/>
                  <a:gd name="T61" fmla="*/ 1261 h 1562"/>
                  <a:gd name="T62" fmla="*/ 1398 w 1453"/>
                  <a:gd name="T63" fmla="*/ 668 h 1562"/>
                  <a:gd name="T64" fmla="*/ 1262 w 1453"/>
                  <a:gd name="T65" fmla="*/ 753 h 1562"/>
                  <a:gd name="T66" fmla="*/ 1212 w 1453"/>
                  <a:gd name="T67" fmla="*/ 768 h 1562"/>
                  <a:gd name="T68" fmla="*/ 1151 w 1453"/>
                  <a:gd name="T69" fmla="*/ 748 h 1562"/>
                  <a:gd name="T70" fmla="*/ 1121 w 1453"/>
                  <a:gd name="T71" fmla="*/ 648 h 1562"/>
                  <a:gd name="T72" fmla="*/ 1197 w 1453"/>
                  <a:gd name="T73" fmla="*/ 407 h 1562"/>
                  <a:gd name="T74" fmla="*/ 1156 w 1453"/>
                  <a:gd name="T75" fmla="*/ 382 h 1562"/>
                  <a:gd name="T76" fmla="*/ 1031 w 1453"/>
                  <a:gd name="T77" fmla="*/ 186 h 1562"/>
                  <a:gd name="T78" fmla="*/ 1010 w 1453"/>
                  <a:gd name="T79" fmla="*/ 106 h 1562"/>
                  <a:gd name="T80" fmla="*/ 1267 w 1453"/>
                  <a:gd name="T81" fmla="*/ 181 h 1562"/>
                  <a:gd name="T82" fmla="*/ 1297 w 1453"/>
                  <a:gd name="T83" fmla="*/ 86 h 1562"/>
                  <a:gd name="T84" fmla="*/ 910 w 1453"/>
                  <a:gd name="T85" fmla="*/ 0 h 1562"/>
                  <a:gd name="T86" fmla="*/ 0 w 1453"/>
                  <a:gd name="T87" fmla="*/ 909 h 1562"/>
                  <a:gd name="T88" fmla="*/ 216 w 1453"/>
                  <a:gd name="T89" fmla="*/ 1497 h 1562"/>
                  <a:gd name="T90" fmla="*/ 281 w 1453"/>
                  <a:gd name="T91" fmla="*/ 1471 h 1562"/>
                  <a:gd name="T92" fmla="*/ 317 w 1453"/>
                  <a:gd name="T93" fmla="*/ 1481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3" h="1562">
                    <a:moveTo>
                      <a:pt x="317" y="1481"/>
                    </a:moveTo>
                    <a:cubicBezTo>
                      <a:pt x="442" y="1532"/>
                      <a:pt x="568" y="1562"/>
                      <a:pt x="694" y="1562"/>
                    </a:cubicBezTo>
                    <a:cubicBezTo>
                      <a:pt x="729" y="1562"/>
                      <a:pt x="769" y="1557"/>
                      <a:pt x="804" y="1552"/>
                    </a:cubicBezTo>
                    <a:cubicBezTo>
                      <a:pt x="744" y="1502"/>
                      <a:pt x="699" y="1436"/>
                      <a:pt x="734" y="1381"/>
                    </a:cubicBezTo>
                    <a:cubicBezTo>
                      <a:pt x="779" y="1316"/>
                      <a:pt x="729" y="1301"/>
                      <a:pt x="679" y="1286"/>
                    </a:cubicBezTo>
                    <a:cubicBezTo>
                      <a:pt x="628" y="1271"/>
                      <a:pt x="643" y="1190"/>
                      <a:pt x="498" y="1155"/>
                    </a:cubicBezTo>
                    <a:cubicBezTo>
                      <a:pt x="347" y="1120"/>
                      <a:pt x="332" y="1035"/>
                      <a:pt x="296" y="929"/>
                    </a:cubicBezTo>
                    <a:cubicBezTo>
                      <a:pt x="221" y="683"/>
                      <a:pt x="317" y="522"/>
                      <a:pt x="317" y="472"/>
                    </a:cubicBezTo>
                    <a:cubicBezTo>
                      <a:pt x="317" y="437"/>
                      <a:pt x="306" y="407"/>
                      <a:pt x="296" y="382"/>
                    </a:cubicBezTo>
                    <a:cubicBezTo>
                      <a:pt x="311" y="367"/>
                      <a:pt x="322" y="352"/>
                      <a:pt x="337" y="337"/>
                    </a:cubicBezTo>
                    <a:cubicBezTo>
                      <a:pt x="372" y="302"/>
                      <a:pt x="412" y="266"/>
                      <a:pt x="452" y="241"/>
                    </a:cubicBezTo>
                    <a:cubicBezTo>
                      <a:pt x="482" y="251"/>
                      <a:pt x="528" y="261"/>
                      <a:pt x="578" y="231"/>
                    </a:cubicBezTo>
                    <a:cubicBezTo>
                      <a:pt x="653" y="186"/>
                      <a:pt x="709" y="186"/>
                      <a:pt x="744" y="176"/>
                    </a:cubicBezTo>
                    <a:cubicBezTo>
                      <a:pt x="779" y="171"/>
                      <a:pt x="839" y="156"/>
                      <a:pt x="819" y="106"/>
                    </a:cubicBezTo>
                    <a:cubicBezTo>
                      <a:pt x="850" y="101"/>
                      <a:pt x="880" y="101"/>
                      <a:pt x="910" y="101"/>
                    </a:cubicBezTo>
                    <a:cubicBezTo>
                      <a:pt x="920" y="101"/>
                      <a:pt x="935" y="101"/>
                      <a:pt x="945" y="101"/>
                    </a:cubicBezTo>
                    <a:cubicBezTo>
                      <a:pt x="890" y="161"/>
                      <a:pt x="895" y="186"/>
                      <a:pt x="970" y="246"/>
                    </a:cubicBezTo>
                    <a:cubicBezTo>
                      <a:pt x="1000" y="276"/>
                      <a:pt x="990" y="332"/>
                      <a:pt x="910" y="297"/>
                    </a:cubicBezTo>
                    <a:cubicBezTo>
                      <a:pt x="814" y="256"/>
                      <a:pt x="809" y="327"/>
                      <a:pt x="714" y="342"/>
                    </a:cubicBezTo>
                    <a:cubicBezTo>
                      <a:pt x="679" y="347"/>
                      <a:pt x="658" y="442"/>
                      <a:pt x="754" y="482"/>
                    </a:cubicBezTo>
                    <a:cubicBezTo>
                      <a:pt x="789" y="497"/>
                      <a:pt x="880" y="527"/>
                      <a:pt x="839" y="427"/>
                    </a:cubicBezTo>
                    <a:cubicBezTo>
                      <a:pt x="819" y="367"/>
                      <a:pt x="915" y="322"/>
                      <a:pt x="935" y="397"/>
                    </a:cubicBezTo>
                    <a:cubicBezTo>
                      <a:pt x="950" y="457"/>
                      <a:pt x="1000" y="387"/>
                      <a:pt x="1031" y="432"/>
                    </a:cubicBezTo>
                    <a:cubicBezTo>
                      <a:pt x="1096" y="517"/>
                      <a:pt x="1116" y="603"/>
                      <a:pt x="1000" y="623"/>
                    </a:cubicBezTo>
                    <a:cubicBezTo>
                      <a:pt x="819" y="648"/>
                      <a:pt x="759" y="804"/>
                      <a:pt x="744" y="869"/>
                    </a:cubicBezTo>
                    <a:cubicBezTo>
                      <a:pt x="724" y="939"/>
                      <a:pt x="583" y="944"/>
                      <a:pt x="528" y="944"/>
                    </a:cubicBezTo>
                    <a:cubicBezTo>
                      <a:pt x="472" y="944"/>
                      <a:pt x="457" y="1100"/>
                      <a:pt x="523" y="1100"/>
                    </a:cubicBezTo>
                    <a:cubicBezTo>
                      <a:pt x="583" y="1100"/>
                      <a:pt x="679" y="1165"/>
                      <a:pt x="694" y="1205"/>
                    </a:cubicBezTo>
                    <a:cubicBezTo>
                      <a:pt x="714" y="1250"/>
                      <a:pt x="935" y="1155"/>
                      <a:pt x="1036" y="1296"/>
                    </a:cubicBezTo>
                    <a:cubicBezTo>
                      <a:pt x="1071" y="1351"/>
                      <a:pt x="1121" y="1381"/>
                      <a:pt x="1161" y="1411"/>
                    </a:cubicBezTo>
                    <a:cubicBezTo>
                      <a:pt x="1217" y="1366"/>
                      <a:pt x="1267" y="1316"/>
                      <a:pt x="1307" y="1261"/>
                    </a:cubicBezTo>
                    <a:cubicBezTo>
                      <a:pt x="1423" y="1095"/>
                      <a:pt x="1453" y="889"/>
                      <a:pt x="1398" y="668"/>
                    </a:cubicBezTo>
                    <a:cubicBezTo>
                      <a:pt x="1262" y="753"/>
                      <a:pt x="1262" y="753"/>
                      <a:pt x="1262" y="753"/>
                    </a:cubicBezTo>
                    <a:cubicBezTo>
                      <a:pt x="1247" y="763"/>
                      <a:pt x="1227" y="768"/>
                      <a:pt x="1212" y="768"/>
                    </a:cubicBezTo>
                    <a:cubicBezTo>
                      <a:pt x="1191" y="768"/>
                      <a:pt x="1171" y="763"/>
                      <a:pt x="1151" y="748"/>
                    </a:cubicBezTo>
                    <a:cubicBezTo>
                      <a:pt x="1121" y="728"/>
                      <a:pt x="1111" y="683"/>
                      <a:pt x="1121" y="648"/>
                    </a:cubicBezTo>
                    <a:cubicBezTo>
                      <a:pt x="1197" y="407"/>
                      <a:pt x="1197" y="407"/>
                      <a:pt x="1197" y="407"/>
                    </a:cubicBezTo>
                    <a:cubicBezTo>
                      <a:pt x="1186" y="402"/>
                      <a:pt x="1171" y="392"/>
                      <a:pt x="1156" y="382"/>
                    </a:cubicBezTo>
                    <a:cubicBezTo>
                      <a:pt x="1056" y="297"/>
                      <a:pt x="1091" y="211"/>
                      <a:pt x="1031" y="186"/>
                    </a:cubicBezTo>
                    <a:cubicBezTo>
                      <a:pt x="985" y="166"/>
                      <a:pt x="995" y="136"/>
                      <a:pt x="1010" y="106"/>
                    </a:cubicBezTo>
                    <a:cubicBezTo>
                      <a:pt x="1101" y="116"/>
                      <a:pt x="1186" y="141"/>
                      <a:pt x="1267" y="181"/>
                    </a:cubicBezTo>
                    <a:cubicBezTo>
                      <a:pt x="1297" y="86"/>
                      <a:pt x="1297" y="86"/>
                      <a:pt x="1297" y="86"/>
                    </a:cubicBezTo>
                    <a:cubicBezTo>
                      <a:pt x="1176" y="30"/>
                      <a:pt x="1046" y="0"/>
                      <a:pt x="910" y="0"/>
                    </a:cubicBezTo>
                    <a:cubicBezTo>
                      <a:pt x="407" y="0"/>
                      <a:pt x="0" y="407"/>
                      <a:pt x="0" y="909"/>
                    </a:cubicBezTo>
                    <a:cubicBezTo>
                      <a:pt x="0" y="1130"/>
                      <a:pt x="80" y="1336"/>
                      <a:pt x="216" y="1497"/>
                    </a:cubicBezTo>
                    <a:cubicBezTo>
                      <a:pt x="231" y="1481"/>
                      <a:pt x="256" y="1471"/>
                      <a:pt x="281" y="1471"/>
                    </a:cubicBezTo>
                    <a:cubicBezTo>
                      <a:pt x="291" y="1471"/>
                      <a:pt x="306" y="1471"/>
                      <a:pt x="317" y="14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17"/>
              <p:cNvSpPr>
                <a:spLocks/>
              </p:cNvSpPr>
              <p:nvPr/>
            </p:nvSpPr>
            <p:spPr bwMode="auto">
              <a:xfrm>
                <a:off x="6371091" y="4679036"/>
                <a:ext cx="760117" cy="795320"/>
              </a:xfrm>
              <a:custGeom>
                <a:avLst/>
                <a:gdLst>
                  <a:gd name="T0" fmla="*/ 927 w 1824"/>
                  <a:gd name="T1" fmla="*/ 763 h 1907"/>
                  <a:gd name="T2" fmla="*/ 1167 w 1824"/>
                  <a:gd name="T3" fmla="*/ 612 h 1907"/>
                  <a:gd name="T4" fmla="*/ 411 w 1824"/>
                  <a:gd name="T5" fmla="*/ 1746 h 1907"/>
                  <a:gd name="T6" fmla="*/ 0 w 1824"/>
                  <a:gd name="T7" fmla="*/ 1656 h 1907"/>
                  <a:gd name="T8" fmla="*/ 631 w 1824"/>
                  <a:gd name="T9" fmla="*/ 1907 h 1907"/>
                  <a:gd name="T10" fmla="*/ 1538 w 1824"/>
                  <a:gd name="T11" fmla="*/ 481 h 1907"/>
                  <a:gd name="T12" fmla="*/ 1824 w 1824"/>
                  <a:gd name="T13" fmla="*/ 451 h 1907"/>
                  <a:gd name="T14" fmla="*/ 1162 w 1824"/>
                  <a:gd name="T15" fmla="*/ 0 h 1907"/>
                  <a:gd name="T16" fmla="*/ 927 w 1824"/>
                  <a:gd name="T17" fmla="*/ 763 h 1907"/>
                  <a:gd name="T18" fmla="*/ 927 w 1824"/>
                  <a:gd name="T19" fmla="*/ 763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4" h="1907">
                    <a:moveTo>
                      <a:pt x="927" y="763"/>
                    </a:moveTo>
                    <a:cubicBezTo>
                      <a:pt x="1167" y="612"/>
                      <a:pt x="1167" y="612"/>
                      <a:pt x="1167" y="612"/>
                    </a:cubicBezTo>
                    <a:cubicBezTo>
                      <a:pt x="1408" y="1264"/>
                      <a:pt x="962" y="1746"/>
                      <a:pt x="411" y="1746"/>
                    </a:cubicBezTo>
                    <a:cubicBezTo>
                      <a:pt x="275" y="1746"/>
                      <a:pt x="135" y="1716"/>
                      <a:pt x="0" y="1656"/>
                    </a:cubicBezTo>
                    <a:cubicBezTo>
                      <a:pt x="165" y="1821"/>
                      <a:pt x="396" y="1907"/>
                      <a:pt x="631" y="1907"/>
                    </a:cubicBezTo>
                    <a:cubicBezTo>
                      <a:pt x="1177" y="1907"/>
                      <a:pt x="1744" y="1445"/>
                      <a:pt x="1538" y="481"/>
                    </a:cubicBezTo>
                    <a:cubicBezTo>
                      <a:pt x="1824" y="451"/>
                      <a:pt x="1824" y="451"/>
                      <a:pt x="1824" y="451"/>
                    </a:cubicBezTo>
                    <a:cubicBezTo>
                      <a:pt x="1162" y="0"/>
                      <a:pt x="1162" y="0"/>
                      <a:pt x="1162" y="0"/>
                    </a:cubicBezTo>
                    <a:cubicBezTo>
                      <a:pt x="927" y="763"/>
                      <a:pt x="927" y="763"/>
                      <a:pt x="927" y="763"/>
                    </a:cubicBezTo>
                    <a:cubicBezTo>
                      <a:pt x="927" y="763"/>
                      <a:pt x="927" y="763"/>
                      <a:pt x="927" y="7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 name="Title 1"/>
          <p:cNvSpPr>
            <a:spLocks noGrp="1"/>
          </p:cNvSpPr>
          <p:nvPr>
            <p:ph type="title"/>
          </p:nvPr>
        </p:nvSpPr>
        <p:spPr/>
        <p:txBody>
          <a:bodyPr/>
          <a:lstStyle/>
          <a:p>
            <a:r>
              <a:rPr lang="en-US" sz="4000" dirty="0" smtClean="0">
                <a:gradFill>
                  <a:gsLst>
                    <a:gs pos="6195">
                      <a:schemeClr val="bg2"/>
                    </a:gs>
                    <a:gs pos="100000">
                      <a:schemeClr val="bg2"/>
                    </a:gs>
                  </a:gsLst>
                  <a:lin ang="5400000" scaled="0"/>
                </a:gradFill>
              </a:rPr>
              <a:t>Externalization and Consumerization of IT</a:t>
            </a:r>
            <a:endParaRPr lang="en-US" sz="4000" dirty="0">
              <a:gradFill>
                <a:gsLst>
                  <a:gs pos="6195">
                    <a:schemeClr val="bg2"/>
                  </a:gs>
                  <a:gs pos="100000">
                    <a:schemeClr val="bg2"/>
                  </a:gs>
                </a:gsLst>
                <a:lin ang="5400000" scaled="0"/>
              </a:gradFill>
            </a:endParaRPr>
          </a:p>
        </p:txBody>
      </p:sp>
      <p:grpSp>
        <p:nvGrpSpPr>
          <p:cNvPr id="13" name="Group 12"/>
          <p:cNvGrpSpPr/>
          <p:nvPr/>
        </p:nvGrpSpPr>
        <p:grpSpPr>
          <a:xfrm>
            <a:off x="273625" y="2134116"/>
            <a:ext cx="3560609" cy="3541170"/>
            <a:chOff x="273625" y="2134116"/>
            <a:chExt cx="3560609" cy="3541170"/>
          </a:xfrm>
        </p:grpSpPr>
        <p:grpSp>
          <p:nvGrpSpPr>
            <p:cNvPr id="66" name="Group 65"/>
            <p:cNvGrpSpPr/>
            <p:nvPr/>
          </p:nvGrpSpPr>
          <p:grpSpPr>
            <a:xfrm>
              <a:off x="273625" y="2134116"/>
              <a:ext cx="3560609" cy="3541170"/>
              <a:chOff x="312520" y="2125663"/>
              <a:chExt cx="3656447" cy="3636485"/>
            </a:xfrm>
          </p:grpSpPr>
          <p:sp>
            <p:nvSpPr>
              <p:cNvPr id="4" name="Rectangle 3"/>
              <p:cNvSpPr/>
              <p:nvPr/>
            </p:nvSpPr>
            <p:spPr bwMode="auto">
              <a:xfrm>
                <a:off x="312520" y="2125663"/>
                <a:ext cx="3564273" cy="3636485"/>
              </a:xfrm>
              <a:prstGeom prst="rect">
                <a:avLst/>
              </a:prstGeom>
              <a:solidFill>
                <a:schemeClr val="tx1"/>
              </a:solidFill>
              <a:ln w="381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Segoe UI Light"/>
                </a:endParaRPr>
              </a:p>
            </p:txBody>
          </p:sp>
          <p:sp>
            <p:nvSpPr>
              <p:cNvPr id="7" name="Rectangle 6"/>
              <p:cNvSpPr/>
              <p:nvPr/>
            </p:nvSpPr>
            <p:spPr>
              <a:xfrm>
                <a:off x="347079" y="2218263"/>
                <a:ext cx="3621888" cy="1106213"/>
              </a:xfrm>
              <a:prstGeom prst="rect">
                <a:avLst/>
              </a:prstGeom>
            </p:spPr>
            <p:txBody>
              <a:bodyPr wrap="square">
                <a:spAutoFit/>
              </a:bodyPr>
              <a:lstStyle/>
              <a:p>
                <a:pPr defTabSz="951028" fontAlgn="base">
                  <a:spcBef>
                    <a:spcPct val="0"/>
                  </a:spcBef>
                  <a:spcAft>
                    <a:spcPct val="0"/>
                  </a:spcAft>
                </a:pPr>
                <a:r>
                  <a:rPr lang="en-US" sz="3200" dirty="0" smtClean="0">
                    <a:gradFill>
                      <a:gsLst>
                        <a:gs pos="0">
                          <a:srgbClr val="0072C6"/>
                        </a:gs>
                        <a:gs pos="100000">
                          <a:srgbClr val="0072C6"/>
                        </a:gs>
                      </a:gsLst>
                      <a:lin ang="5400000" scaled="0"/>
                    </a:gradFill>
                    <a:latin typeface="Segoe UI Light"/>
                  </a:rPr>
                  <a:t>Data and Services in the cloud</a:t>
                </a:r>
                <a:endParaRPr lang="en-US" sz="3200" dirty="0">
                  <a:gradFill>
                    <a:gsLst>
                      <a:gs pos="0">
                        <a:srgbClr val="0072C6"/>
                      </a:gs>
                      <a:gs pos="100000">
                        <a:srgbClr val="0072C6"/>
                      </a:gs>
                    </a:gsLst>
                    <a:lin ang="5400000" scaled="0"/>
                  </a:gradFill>
                  <a:latin typeface="Segoe UI Light"/>
                </a:endParaRPr>
              </a:p>
            </p:txBody>
          </p:sp>
        </p:grpSp>
        <p:sp>
          <p:nvSpPr>
            <p:cNvPr id="23" name="Freeform 128"/>
            <p:cNvSpPr>
              <a:spLocks noChangeAspect="1"/>
            </p:cNvSpPr>
            <p:nvPr/>
          </p:nvSpPr>
          <p:spPr bwMode="black">
            <a:xfrm>
              <a:off x="1590952" y="4353011"/>
              <a:ext cx="1996774" cy="110304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50800"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grpSp>
          <p:nvGrpSpPr>
            <p:cNvPr id="65" name="Group 64"/>
            <p:cNvGrpSpPr/>
            <p:nvPr/>
          </p:nvGrpSpPr>
          <p:grpSpPr>
            <a:xfrm>
              <a:off x="2625458" y="4724518"/>
              <a:ext cx="486957" cy="596456"/>
              <a:chOff x="-1684338" y="1670050"/>
              <a:chExt cx="868363" cy="1063626"/>
            </a:xfrm>
            <a:solidFill>
              <a:schemeClr val="tx1"/>
            </a:solidFill>
          </p:grpSpPr>
          <p:sp>
            <p:nvSpPr>
              <p:cNvPr id="21" name="Freeform 9"/>
              <p:cNvSpPr>
                <a:spLocks/>
              </p:cNvSpPr>
              <p:nvPr/>
            </p:nvSpPr>
            <p:spPr bwMode="auto">
              <a:xfrm>
                <a:off x="-1684338" y="1670050"/>
                <a:ext cx="868363" cy="311150"/>
              </a:xfrm>
              <a:custGeom>
                <a:avLst/>
                <a:gdLst>
                  <a:gd name="T0" fmla="*/ 857 w 1716"/>
                  <a:gd name="T1" fmla="*/ 0 h 617"/>
                  <a:gd name="T2" fmla="*/ 1425 w 1716"/>
                  <a:gd name="T3" fmla="*/ 80 h 617"/>
                  <a:gd name="T4" fmla="*/ 1616 w 1716"/>
                  <a:gd name="T5" fmla="*/ 172 h 617"/>
                  <a:gd name="T6" fmla="*/ 1665 w 1716"/>
                  <a:gd name="T7" fmla="*/ 216 h 617"/>
                  <a:gd name="T8" fmla="*/ 1661 w 1716"/>
                  <a:gd name="T9" fmla="*/ 401 h 617"/>
                  <a:gd name="T10" fmla="*/ 1479 w 1716"/>
                  <a:gd name="T11" fmla="*/ 512 h 617"/>
                  <a:gd name="T12" fmla="*/ 1049 w 1716"/>
                  <a:gd name="T13" fmla="*/ 603 h 617"/>
                  <a:gd name="T14" fmla="*/ 508 w 1716"/>
                  <a:gd name="T15" fmla="*/ 583 h 617"/>
                  <a:gd name="T16" fmla="*/ 152 w 1716"/>
                  <a:gd name="T17" fmla="*/ 472 h 617"/>
                  <a:gd name="T18" fmla="*/ 57 w 1716"/>
                  <a:gd name="T19" fmla="*/ 401 h 617"/>
                  <a:gd name="T20" fmla="*/ 52 w 1716"/>
                  <a:gd name="T21" fmla="*/ 215 h 617"/>
                  <a:gd name="T22" fmla="*/ 223 w 1716"/>
                  <a:gd name="T23" fmla="*/ 105 h 617"/>
                  <a:gd name="T24" fmla="*/ 660 w 1716"/>
                  <a:gd name="T25" fmla="*/ 10 h 617"/>
                  <a:gd name="T26" fmla="*/ 857 w 1716"/>
                  <a:gd name="T2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6" h="617">
                    <a:moveTo>
                      <a:pt x="857" y="0"/>
                    </a:moveTo>
                    <a:cubicBezTo>
                      <a:pt x="1050" y="2"/>
                      <a:pt x="1240" y="21"/>
                      <a:pt x="1425" y="80"/>
                    </a:cubicBezTo>
                    <a:cubicBezTo>
                      <a:pt x="1493" y="102"/>
                      <a:pt x="1558" y="129"/>
                      <a:pt x="1616" y="172"/>
                    </a:cubicBezTo>
                    <a:cubicBezTo>
                      <a:pt x="1633" y="185"/>
                      <a:pt x="1650" y="200"/>
                      <a:pt x="1665" y="216"/>
                    </a:cubicBezTo>
                    <a:cubicBezTo>
                      <a:pt x="1716" y="275"/>
                      <a:pt x="1714" y="344"/>
                      <a:pt x="1661" y="401"/>
                    </a:cubicBezTo>
                    <a:cubicBezTo>
                      <a:pt x="1610" y="455"/>
                      <a:pt x="1546" y="486"/>
                      <a:pt x="1479" y="512"/>
                    </a:cubicBezTo>
                    <a:cubicBezTo>
                      <a:pt x="1340" y="566"/>
                      <a:pt x="1196" y="591"/>
                      <a:pt x="1049" y="603"/>
                    </a:cubicBezTo>
                    <a:cubicBezTo>
                      <a:pt x="868" y="617"/>
                      <a:pt x="687" y="613"/>
                      <a:pt x="508" y="583"/>
                    </a:cubicBezTo>
                    <a:cubicBezTo>
                      <a:pt x="384" y="562"/>
                      <a:pt x="262" y="534"/>
                      <a:pt x="152" y="472"/>
                    </a:cubicBezTo>
                    <a:cubicBezTo>
                      <a:pt x="117" y="453"/>
                      <a:pt x="85" y="428"/>
                      <a:pt x="57" y="401"/>
                    </a:cubicBezTo>
                    <a:cubicBezTo>
                      <a:pt x="0" y="346"/>
                      <a:pt x="0" y="275"/>
                      <a:pt x="52" y="215"/>
                    </a:cubicBezTo>
                    <a:cubicBezTo>
                      <a:pt x="99" y="162"/>
                      <a:pt x="160" y="131"/>
                      <a:pt x="223" y="105"/>
                    </a:cubicBezTo>
                    <a:cubicBezTo>
                      <a:pt x="363" y="48"/>
                      <a:pt x="510" y="23"/>
                      <a:pt x="660" y="10"/>
                    </a:cubicBezTo>
                    <a:cubicBezTo>
                      <a:pt x="726" y="5"/>
                      <a:pt x="792" y="3"/>
                      <a:pt x="8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0"/>
              <p:cNvSpPr>
                <a:spLocks/>
              </p:cNvSpPr>
              <p:nvPr/>
            </p:nvSpPr>
            <p:spPr bwMode="auto">
              <a:xfrm>
                <a:off x="-1677988" y="2455863"/>
                <a:ext cx="858838" cy="277813"/>
              </a:xfrm>
              <a:custGeom>
                <a:avLst/>
                <a:gdLst>
                  <a:gd name="T0" fmla="*/ 2 w 1698"/>
                  <a:gd name="T1" fmla="*/ 7 h 551"/>
                  <a:gd name="T2" fmla="*/ 196 w 1698"/>
                  <a:gd name="T3" fmla="*/ 95 h 551"/>
                  <a:gd name="T4" fmla="*/ 639 w 1698"/>
                  <a:gd name="T5" fmla="*/ 187 h 551"/>
                  <a:gd name="T6" fmla="*/ 1104 w 1698"/>
                  <a:gd name="T7" fmla="*/ 181 h 551"/>
                  <a:gd name="T8" fmla="*/ 1631 w 1698"/>
                  <a:gd name="T9" fmla="*/ 35 h 551"/>
                  <a:gd name="T10" fmla="*/ 1690 w 1698"/>
                  <a:gd name="T11" fmla="*/ 0 h 551"/>
                  <a:gd name="T12" fmla="*/ 1690 w 1698"/>
                  <a:gd name="T13" fmla="*/ 155 h 551"/>
                  <a:gd name="T14" fmla="*/ 1691 w 1698"/>
                  <a:gd name="T15" fmla="*/ 200 h 551"/>
                  <a:gd name="T16" fmla="*/ 1602 w 1698"/>
                  <a:gd name="T17" fmla="*/ 371 h 551"/>
                  <a:gd name="T18" fmla="*/ 1306 w 1698"/>
                  <a:gd name="T19" fmla="*/ 491 h 551"/>
                  <a:gd name="T20" fmla="*/ 613 w 1698"/>
                  <a:gd name="T21" fmla="*/ 528 h 551"/>
                  <a:gd name="T22" fmla="*/ 221 w 1698"/>
                  <a:gd name="T23" fmla="*/ 440 h 551"/>
                  <a:gd name="T24" fmla="*/ 58 w 1698"/>
                  <a:gd name="T25" fmla="*/ 345 h 551"/>
                  <a:gd name="T26" fmla="*/ 1 w 1698"/>
                  <a:gd name="T27" fmla="*/ 217 h 551"/>
                  <a:gd name="T28" fmla="*/ 2 w 1698"/>
                  <a:gd name="T29" fmla="*/ 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8" h="551">
                    <a:moveTo>
                      <a:pt x="2" y="7"/>
                    </a:moveTo>
                    <a:cubicBezTo>
                      <a:pt x="67" y="37"/>
                      <a:pt x="130" y="70"/>
                      <a:pt x="196" y="95"/>
                    </a:cubicBezTo>
                    <a:cubicBezTo>
                      <a:pt x="338" y="150"/>
                      <a:pt x="488" y="173"/>
                      <a:pt x="639" y="187"/>
                    </a:cubicBezTo>
                    <a:cubicBezTo>
                      <a:pt x="794" y="200"/>
                      <a:pt x="949" y="199"/>
                      <a:pt x="1104" y="181"/>
                    </a:cubicBezTo>
                    <a:cubicBezTo>
                      <a:pt x="1288" y="161"/>
                      <a:pt x="1467" y="125"/>
                      <a:pt x="1631" y="35"/>
                    </a:cubicBezTo>
                    <a:cubicBezTo>
                      <a:pt x="1650" y="25"/>
                      <a:pt x="1668" y="13"/>
                      <a:pt x="1690" y="0"/>
                    </a:cubicBezTo>
                    <a:cubicBezTo>
                      <a:pt x="1690" y="54"/>
                      <a:pt x="1690" y="104"/>
                      <a:pt x="1690" y="155"/>
                    </a:cubicBezTo>
                    <a:cubicBezTo>
                      <a:pt x="1690" y="170"/>
                      <a:pt x="1689" y="185"/>
                      <a:pt x="1691" y="200"/>
                    </a:cubicBezTo>
                    <a:cubicBezTo>
                      <a:pt x="1698" y="277"/>
                      <a:pt x="1661" y="329"/>
                      <a:pt x="1602" y="371"/>
                    </a:cubicBezTo>
                    <a:cubicBezTo>
                      <a:pt x="1513" y="434"/>
                      <a:pt x="1411" y="467"/>
                      <a:pt x="1306" y="491"/>
                    </a:cubicBezTo>
                    <a:cubicBezTo>
                      <a:pt x="1077" y="543"/>
                      <a:pt x="846" y="551"/>
                      <a:pt x="613" y="528"/>
                    </a:cubicBezTo>
                    <a:cubicBezTo>
                      <a:pt x="479" y="515"/>
                      <a:pt x="347" y="490"/>
                      <a:pt x="221" y="440"/>
                    </a:cubicBezTo>
                    <a:cubicBezTo>
                      <a:pt x="162" y="417"/>
                      <a:pt x="105" y="389"/>
                      <a:pt x="58" y="345"/>
                    </a:cubicBezTo>
                    <a:cubicBezTo>
                      <a:pt x="21" y="310"/>
                      <a:pt x="0" y="270"/>
                      <a:pt x="1" y="217"/>
                    </a:cubicBezTo>
                    <a:cubicBezTo>
                      <a:pt x="3" y="146"/>
                      <a:pt x="2" y="75"/>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1"/>
              <p:cNvSpPr>
                <a:spLocks/>
              </p:cNvSpPr>
              <p:nvPr/>
            </p:nvSpPr>
            <p:spPr bwMode="auto">
              <a:xfrm>
                <a:off x="-1679576" y="1955800"/>
                <a:ext cx="857251" cy="274638"/>
              </a:xfrm>
              <a:custGeom>
                <a:avLst/>
                <a:gdLst>
                  <a:gd name="T0" fmla="*/ 4 w 1694"/>
                  <a:gd name="T1" fmla="*/ 2 h 543"/>
                  <a:gd name="T2" fmla="*/ 12 w 1694"/>
                  <a:gd name="T3" fmla="*/ 4 h 543"/>
                  <a:gd name="T4" fmla="*/ 493 w 1694"/>
                  <a:gd name="T5" fmla="*/ 168 h 543"/>
                  <a:gd name="T6" fmla="*/ 1130 w 1694"/>
                  <a:gd name="T7" fmla="*/ 178 h 543"/>
                  <a:gd name="T8" fmla="*/ 1624 w 1694"/>
                  <a:gd name="T9" fmla="*/ 39 h 543"/>
                  <a:gd name="T10" fmla="*/ 1689 w 1694"/>
                  <a:gd name="T11" fmla="*/ 0 h 543"/>
                  <a:gd name="T12" fmla="*/ 1691 w 1694"/>
                  <a:gd name="T13" fmla="*/ 24 h 543"/>
                  <a:gd name="T14" fmla="*/ 1692 w 1694"/>
                  <a:gd name="T15" fmla="*/ 214 h 543"/>
                  <a:gd name="T16" fmla="*/ 1631 w 1694"/>
                  <a:gd name="T17" fmla="*/ 347 h 543"/>
                  <a:gd name="T18" fmla="*/ 1385 w 1694"/>
                  <a:gd name="T19" fmla="*/ 468 h 543"/>
                  <a:gd name="T20" fmla="*/ 933 w 1694"/>
                  <a:gd name="T21" fmla="*/ 536 h 543"/>
                  <a:gd name="T22" fmla="*/ 327 w 1694"/>
                  <a:gd name="T23" fmla="*/ 473 h 543"/>
                  <a:gd name="T24" fmla="*/ 101 w 1694"/>
                  <a:gd name="T25" fmla="*/ 375 h 543"/>
                  <a:gd name="T26" fmla="*/ 33 w 1694"/>
                  <a:gd name="T27" fmla="*/ 312 h 543"/>
                  <a:gd name="T28" fmla="*/ 4 w 1694"/>
                  <a:gd name="T29" fmla="*/ 235 h 543"/>
                  <a:gd name="T30" fmla="*/ 3 w 1694"/>
                  <a:gd name="T31" fmla="*/ 12 h 543"/>
                  <a:gd name="T32" fmla="*/ 4 w 1694"/>
                  <a:gd name="T33"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4" h="543">
                    <a:moveTo>
                      <a:pt x="4" y="2"/>
                    </a:moveTo>
                    <a:cubicBezTo>
                      <a:pt x="8" y="3"/>
                      <a:pt x="11" y="3"/>
                      <a:pt x="12" y="4"/>
                    </a:cubicBezTo>
                    <a:cubicBezTo>
                      <a:pt x="158" y="100"/>
                      <a:pt x="323" y="142"/>
                      <a:pt x="493" y="168"/>
                    </a:cubicBezTo>
                    <a:cubicBezTo>
                      <a:pt x="704" y="201"/>
                      <a:pt x="917" y="204"/>
                      <a:pt x="1130" y="178"/>
                    </a:cubicBezTo>
                    <a:cubicBezTo>
                      <a:pt x="1301" y="157"/>
                      <a:pt x="1470" y="121"/>
                      <a:pt x="1624" y="39"/>
                    </a:cubicBezTo>
                    <a:cubicBezTo>
                      <a:pt x="1645" y="27"/>
                      <a:pt x="1666" y="14"/>
                      <a:pt x="1689" y="0"/>
                    </a:cubicBezTo>
                    <a:cubicBezTo>
                      <a:pt x="1690" y="9"/>
                      <a:pt x="1691" y="16"/>
                      <a:pt x="1691" y="24"/>
                    </a:cubicBezTo>
                    <a:cubicBezTo>
                      <a:pt x="1691" y="87"/>
                      <a:pt x="1690" y="150"/>
                      <a:pt x="1692" y="214"/>
                    </a:cubicBezTo>
                    <a:cubicBezTo>
                      <a:pt x="1694" y="269"/>
                      <a:pt x="1671" y="312"/>
                      <a:pt x="1631" y="347"/>
                    </a:cubicBezTo>
                    <a:cubicBezTo>
                      <a:pt x="1559" y="409"/>
                      <a:pt x="1473" y="441"/>
                      <a:pt x="1385" y="468"/>
                    </a:cubicBezTo>
                    <a:cubicBezTo>
                      <a:pt x="1237" y="512"/>
                      <a:pt x="1086" y="531"/>
                      <a:pt x="933" y="536"/>
                    </a:cubicBezTo>
                    <a:cubicBezTo>
                      <a:pt x="728" y="543"/>
                      <a:pt x="526" y="528"/>
                      <a:pt x="327" y="473"/>
                    </a:cubicBezTo>
                    <a:cubicBezTo>
                      <a:pt x="247" y="451"/>
                      <a:pt x="169" y="423"/>
                      <a:pt x="101" y="375"/>
                    </a:cubicBezTo>
                    <a:cubicBezTo>
                      <a:pt x="76" y="357"/>
                      <a:pt x="51" y="336"/>
                      <a:pt x="33" y="312"/>
                    </a:cubicBezTo>
                    <a:cubicBezTo>
                      <a:pt x="17" y="290"/>
                      <a:pt x="5" y="261"/>
                      <a:pt x="4" y="235"/>
                    </a:cubicBezTo>
                    <a:cubicBezTo>
                      <a:pt x="0" y="161"/>
                      <a:pt x="3" y="87"/>
                      <a:pt x="3" y="12"/>
                    </a:cubicBezTo>
                    <a:cubicBezTo>
                      <a:pt x="3" y="9"/>
                      <a:pt x="3" y="6"/>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12"/>
              <p:cNvSpPr>
                <a:spLocks/>
              </p:cNvSpPr>
              <p:nvPr/>
            </p:nvSpPr>
            <p:spPr bwMode="auto">
              <a:xfrm>
                <a:off x="-1679576" y="2205038"/>
                <a:ext cx="855663" cy="276225"/>
              </a:xfrm>
              <a:custGeom>
                <a:avLst/>
                <a:gdLst>
                  <a:gd name="T0" fmla="*/ 4 w 1693"/>
                  <a:gd name="T1" fmla="*/ 0 h 546"/>
                  <a:gd name="T2" fmla="*/ 667 w 1693"/>
                  <a:gd name="T3" fmla="*/ 189 h 546"/>
                  <a:gd name="T4" fmla="*/ 1320 w 1693"/>
                  <a:gd name="T5" fmla="*/ 148 h 546"/>
                  <a:gd name="T6" fmla="*/ 1681 w 1693"/>
                  <a:gd name="T7" fmla="*/ 6 h 546"/>
                  <a:gd name="T8" fmla="*/ 1691 w 1693"/>
                  <a:gd name="T9" fmla="*/ 1 h 546"/>
                  <a:gd name="T10" fmla="*/ 1690 w 1693"/>
                  <a:gd name="T11" fmla="*/ 249 h 546"/>
                  <a:gd name="T12" fmla="*/ 1632 w 1693"/>
                  <a:gd name="T13" fmla="*/ 347 h 546"/>
                  <a:gd name="T14" fmla="*/ 1421 w 1693"/>
                  <a:gd name="T15" fmla="*/ 458 h 546"/>
                  <a:gd name="T16" fmla="*/ 965 w 1693"/>
                  <a:gd name="T17" fmla="*/ 535 h 546"/>
                  <a:gd name="T18" fmla="*/ 288 w 1693"/>
                  <a:gd name="T19" fmla="*/ 462 h 546"/>
                  <a:gd name="T20" fmla="*/ 78 w 1693"/>
                  <a:gd name="T21" fmla="*/ 359 h 546"/>
                  <a:gd name="T22" fmla="*/ 3 w 1693"/>
                  <a:gd name="T23" fmla="*/ 206 h 546"/>
                  <a:gd name="T24" fmla="*/ 4 w 1693"/>
                  <a:gd name="T2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3" h="546">
                    <a:moveTo>
                      <a:pt x="4" y="0"/>
                    </a:moveTo>
                    <a:cubicBezTo>
                      <a:pt x="209" y="130"/>
                      <a:pt x="435" y="170"/>
                      <a:pt x="667" y="189"/>
                    </a:cubicBezTo>
                    <a:cubicBezTo>
                      <a:pt x="886" y="206"/>
                      <a:pt x="1104" y="195"/>
                      <a:pt x="1320" y="148"/>
                    </a:cubicBezTo>
                    <a:cubicBezTo>
                      <a:pt x="1447" y="120"/>
                      <a:pt x="1571" y="80"/>
                      <a:pt x="1681" y="6"/>
                    </a:cubicBezTo>
                    <a:cubicBezTo>
                      <a:pt x="1683" y="5"/>
                      <a:pt x="1686" y="4"/>
                      <a:pt x="1691" y="1"/>
                    </a:cubicBezTo>
                    <a:cubicBezTo>
                      <a:pt x="1691" y="86"/>
                      <a:pt x="1693" y="167"/>
                      <a:pt x="1690" y="249"/>
                    </a:cubicBezTo>
                    <a:cubicBezTo>
                      <a:pt x="1689" y="289"/>
                      <a:pt x="1662" y="321"/>
                      <a:pt x="1632" y="347"/>
                    </a:cubicBezTo>
                    <a:cubicBezTo>
                      <a:pt x="1571" y="401"/>
                      <a:pt x="1497" y="432"/>
                      <a:pt x="1421" y="458"/>
                    </a:cubicBezTo>
                    <a:cubicBezTo>
                      <a:pt x="1273" y="506"/>
                      <a:pt x="1120" y="528"/>
                      <a:pt x="965" y="535"/>
                    </a:cubicBezTo>
                    <a:cubicBezTo>
                      <a:pt x="735" y="546"/>
                      <a:pt x="509" y="530"/>
                      <a:pt x="288" y="462"/>
                    </a:cubicBezTo>
                    <a:cubicBezTo>
                      <a:pt x="213" y="439"/>
                      <a:pt x="141" y="408"/>
                      <a:pt x="78" y="359"/>
                    </a:cubicBezTo>
                    <a:cubicBezTo>
                      <a:pt x="28" y="320"/>
                      <a:pt x="0" y="272"/>
                      <a:pt x="3" y="206"/>
                    </a:cubicBezTo>
                    <a:cubicBezTo>
                      <a:pt x="6" y="139"/>
                      <a:pt x="4" y="7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7" name="Group 26"/>
            <p:cNvGrpSpPr/>
            <p:nvPr/>
          </p:nvGrpSpPr>
          <p:grpSpPr>
            <a:xfrm rot="19620928">
              <a:off x="2255012" y="4678961"/>
              <a:ext cx="464667" cy="682625"/>
              <a:chOff x="-1411288" y="-292100"/>
              <a:chExt cx="795338" cy="1168401"/>
            </a:xfrm>
            <a:solidFill>
              <a:schemeClr val="tx1">
                <a:lumMod val="85000"/>
              </a:schemeClr>
            </a:solidFill>
          </p:grpSpPr>
          <p:sp>
            <p:nvSpPr>
              <p:cNvPr id="28" name="Freeform 5"/>
              <p:cNvSpPr>
                <a:spLocks noEditPoints="1"/>
              </p:cNvSpPr>
              <p:nvPr/>
            </p:nvSpPr>
            <p:spPr bwMode="auto">
              <a:xfrm>
                <a:off x="-1362075" y="125413"/>
                <a:ext cx="746125" cy="750888"/>
              </a:xfrm>
              <a:custGeom>
                <a:avLst/>
                <a:gdLst>
                  <a:gd name="T0" fmla="*/ 1203 w 1203"/>
                  <a:gd name="T1" fmla="*/ 737 h 1208"/>
                  <a:gd name="T2" fmla="*/ 1056 w 1203"/>
                  <a:gd name="T3" fmla="*/ 648 h 1208"/>
                  <a:gd name="T4" fmla="*/ 1039 w 1203"/>
                  <a:gd name="T5" fmla="*/ 478 h 1208"/>
                  <a:gd name="T6" fmla="*/ 1162 w 1203"/>
                  <a:gd name="T7" fmla="*/ 354 h 1208"/>
                  <a:gd name="T8" fmla="*/ 1074 w 1203"/>
                  <a:gd name="T9" fmla="*/ 218 h 1208"/>
                  <a:gd name="T10" fmla="*/ 915 w 1203"/>
                  <a:gd name="T11" fmla="*/ 283 h 1208"/>
                  <a:gd name="T12" fmla="*/ 769 w 1203"/>
                  <a:gd name="T13" fmla="*/ 189 h 1208"/>
                  <a:gd name="T14" fmla="*/ 769 w 1203"/>
                  <a:gd name="T15" fmla="*/ 189 h 1208"/>
                  <a:gd name="T16" fmla="*/ 751 w 1203"/>
                  <a:gd name="T17" fmla="*/ 18 h 1208"/>
                  <a:gd name="T18" fmla="*/ 593 w 1203"/>
                  <a:gd name="T19" fmla="*/ 0 h 1208"/>
                  <a:gd name="T20" fmla="*/ 546 w 1203"/>
                  <a:gd name="T21" fmla="*/ 165 h 1208"/>
                  <a:gd name="T22" fmla="*/ 381 w 1203"/>
                  <a:gd name="T23" fmla="*/ 224 h 1208"/>
                  <a:gd name="T24" fmla="*/ 381 w 1203"/>
                  <a:gd name="T25" fmla="*/ 224 h 1208"/>
                  <a:gd name="T26" fmla="*/ 235 w 1203"/>
                  <a:gd name="T27" fmla="*/ 130 h 1208"/>
                  <a:gd name="T28" fmla="*/ 123 w 1203"/>
                  <a:gd name="T29" fmla="*/ 242 h 1208"/>
                  <a:gd name="T30" fmla="*/ 217 w 1203"/>
                  <a:gd name="T31" fmla="*/ 383 h 1208"/>
                  <a:gd name="T32" fmla="*/ 164 w 1203"/>
                  <a:gd name="T33" fmla="*/ 548 h 1208"/>
                  <a:gd name="T34" fmla="*/ 0 w 1203"/>
                  <a:gd name="T35" fmla="*/ 601 h 1208"/>
                  <a:gd name="T36" fmla="*/ 17 w 1203"/>
                  <a:gd name="T37" fmla="*/ 760 h 1208"/>
                  <a:gd name="T38" fmla="*/ 188 w 1203"/>
                  <a:gd name="T39" fmla="*/ 778 h 1208"/>
                  <a:gd name="T40" fmla="*/ 188 w 1203"/>
                  <a:gd name="T41" fmla="*/ 778 h 1208"/>
                  <a:gd name="T42" fmla="*/ 282 w 1203"/>
                  <a:gd name="T43" fmla="*/ 925 h 1208"/>
                  <a:gd name="T44" fmla="*/ 223 w 1203"/>
                  <a:gd name="T45" fmla="*/ 1084 h 1208"/>
                  <a:gd name="T46" fmla="*/ 358 w 1203"/>
                  <a:gd name="T47" fmla="*/ 1167 h 1208"/>
                  <a:gd name="T48" fmla="*/ 475 w 1203"/>
                  <a:gd name="T49" fmla="*/ 1043 h 1208"/>
                  <a:gd name="T50" fmla="*/ 557 w 1203"/>
                  <a:gd name="T51" fmla="*/ 1061 h 1208"/>
                  <a:gd name="T52" fmla="*/ 645 w 1203"/>
                  <a:gd name="T53" fmla="*/ 1061 h 1208"/>
                  <a:gd name="T54" fmla="*/ 733 w 1203"/>
                  <a:gd name="T55" fmla="*/ 1208 h 1208"/>
                  <a:gd name="T56" fmla="*/ 886 w 1203"/>
                  <a:gd name="T57" fmla="*/ 1155 h 1208"/>
                  <a:gd name="T58" fmla="*/ 863 w 1203"/>
                  <a:gd name="T59" fmla="*/ 984 h 1208"/>
                  <a:gd name="T60" fmla="*/ 980 w 1203"/>
                  <a:gd name="T61" fmla="*/ 861 h 1208"/>
                  <a:gd name="T62" fmla="*/ 980 w 1203"/>
                  <a:gd name="T63" fmla="*/ 861 h 1208"/>
                  <a:gd name="T64" fmla="*/ 1150 w 1203"/>
                  <a:gd name="T65" fmla="*/ 884 h 1208"/>
                  <a:gd name="T66" fmla="*/ 1203 w 1203"/>
                  <a:gd name="T67" fmla="*/ 737 h 1208"/>
                  <a:gd name="T68" fmla="*/ 1203 w 1203"/>
                  <a:gd name="T69" fmla="*/ 737 h 1208"/>
                  <a:gd name="T70" fmla="*/ 593 w 1203"/>
                  <a:gd name="T71" fmla="*/ 743 h 1208"/>
                  <a:gd name="T72" fmla="*/ 522 w 1203"/>
                  <a:gd name="T73" fmla="*/ 743 h 1208"/>
                  <a:gd name="T74" fmla="*/ 487 w 1203"/>
                  <a:gd name="T75" fmla="*/ 678 h 1208"/>
                  <a:gd name="T76" fmla="*/ 446 w 1203"/>
                  <a:gd name="T77" fmla="*/ 619 h 1208"/>
                  <a:gd name="T78" fmla="*/ 475 w 1203"/>
                  <a:gd name="T79" fmla="*/ 548 h 1208"/>
                  <a:gd name="T80" fmla="*/ 493 w 1203"/>
                  <a:gd name="T81" fmla="*/ 483 h 1208"/>
                  <a:gd name="T82" fmla="*/ 563 w 1203"/>
                  <a:gd name="T83" fmla="*/ 460 h 1208"/>
                  <a:gd name="T84" fmla="*/ 628 w 1203"/>
                  <a:gd name="T85" fmla="*/ 430 h 1208"/>
                  <a:gd name="T86" fmla="*/ 687 w 1203"/>
                  <a:gd name="T87" fmla="*/ 478 h 1208"/>
                  <a:gd name="T88" fmla="*/ 751 w 1203"/>
                  <a:gd name="T89" fmla="*/ 507 h 1208"/>
                  <a:gd name="T90" fmla="*/ 757 w 1203"/>
                  <a:gd name="T91" fmla="*/ 584 h 1208"/>
                  <a:gd name="T92" fmla="*/ 769 w 1203"/>
                  <a:gd name="T93" fmla="*/ 654 h 1208"/>
                  <a:gd name="T94" fmla="*/ 716 w 1203"/>
                  <a:gd name="T95" fmla="*/ 701 h 1208"/>
                  <a:gd name="T96" fmla="*/ 663 w 1203"/>
                  <a:gd name="T97" fmla="*/ 754 h 1208"/>
                  <a:gd name="T98" fmla="*/ 593 w 1203"/>
                  <a:gd name="T99" fmla="*/ 743 h 1208"/>
                  <a:gd name="T100" fmla="*/ 593 w 1203"/>
                  <a:gd name="T101" fmla="*/ 743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3" h="1208">
                    <a:moveTo>
                      <a:pt x="1203" y="737"/>
                    </a:moveTo>
                    <a:cubicBezTo>
                      <a:pt x="1056" y="648"/>
                      <a:pt x="1056" y="648"/>
                      <a:pt x="1056" y="648"/>
                    </a:cubicBezTo>
                    <a:cubicBezTo>
                      <a:pt x="1062" y="590"/>
                      <a:pt x="1056" y="531"/>
                      <a:pt x="1039" y="478"/>
                    </a:cubicBezTo>
                    <a:cubicBezTo>
                      <a:pt x="1162" y="354"/>
                      <a:pt x="1162" y="354"/>
                      <a:pt x="1162" y="354"/>
                    </a:cubicBezTo>
                    <a:cubicBezTo>
                      <a:pt x="1074" y="218"/>
                      <a:pt x="1074" y="218"/>
                      <a:pt x="1074" y="218"/>
                    </a:cubicBezTo>
                    <a:cubicBezTo>
                      <a:pt x="915" y="283"/>
                      <a:pt x="915" y="283"/>
                      <a:pt x="915" y="283"/>
                    </a:cubicBezTo>
                    <a:cubicBezTo>
                      <a:pt x="874" y="242"/>
                      <a:pt x="822" y="212"/>
                      <a:pt x="769" y="189"/>
                    </a:cubicBezTo>
                    <a:cubicBezTo>
                      <a:pt x="769" y="189"/>
                      <a:pt x="769" y="189"/>
                      <a:pt x="769" y="189"/>
                    </a:cubicBezTo>
                    <a:cubicBezTo>
                      <a:pt x="751" y="18"/>
                      <a:pt x="751" y="18"/>
                      <a:pt x="751" y="18"/>
                    </a:cubicBezTo>
                    <a:cubicBezTo>
                      <a:pt x="593" y="0"/>
                      <a:pt x="593" y="0"/>
                      <a:pt x="593" y="0"/>
                    </a:cubicBezTo>
                    <a:cubicBezTo>
                      <a:pt x="546" y="165"/>
                      <a:pt x="546" y="165"/>
                      <a:pt x="546" y="165"/>
                    </a:cubicBezTo>
                    <a:cubicBezTo>
                      <a:pt x="487" y="177"/>
                      <a:pt x="428" y="195"/>
                      <a:pt x="381" y="224"/>
                    </a:cubicBezTo>
                    <a:cubicBezTo>
                      <a:pt x="381" y="224"/>
                      <a:pt x="381" y="224"/>
                      <a:pt x="381" y="224"/>
                    </a:cubicBezTo>
                    <a:cubicBezTo>
                      <a:pt x="235" y="130"/>
                      <a:pt x="235" y="130"/>
                      <a:pt x="235" y="130"/>
                    </a:cubicBezTo>
                    <a:cubicBezTo>
                      <a:pt x="123" y="242"/>
                      <a:pt x="123" y="242"/>
                      <a:pt x="123" y="242"/>
                    </a:cubicBezTo>
                    <a:cubicBezTo>
                      <a:pt x="217" y="383"/>
                      <a:pt x="217" y="383"/>
                      <a:pt x="217" y="383"/>
                    </a:cubicBezTo>
                    <a:cubicBezTo>
                      <a:pt x="193" y="436"/>
                      <a:pt x="170" y="489"/>
                      <a:pt x="164" y="548"/>
                    </a:cubicBezTo>
                    <a:cubicBezTo>
                      <a:pt x="0" y="601"/>
                      <a:pt x="0" y="601"/>
                      <a:pt x="0" y="601"/>
                    </a:cubicBezTo>
                    <a:cubicBezTo>
                      <a:pt x="17" y="760"/>
                      <a:pt x="17" y="760"/>
                      <a:pt x="17" y="760"/>
                    </a:cubicBezTo>
                    <a:cubicBezTo>
                      <a:pt x="188" y="778"/>
                      <a:pt x="188" y="778"/>
                      <a:pt x="188" y="778"/>
                    </a:cubicBezTo>
                    <a:cubicBezTo>
                      <a:pt x="188" y="778"/>
                      <a:pt x="188" y="778"/>
                      <a:pt x="188" y="778"/>
                    </a:cubicBezTo>
                    <a:cubicBezTo>
                      <a:pt x="211" y="831"/>
                      <a:pt x="240" y="878"/>
                      <a:pt x="282" y="925"/>
                    </a:cubicBezTo>
                    <a:cubicBezTo>
                      <a:pt x="223" y="1084"/>
                      <a:pt x="223" y="1084"/>
                      <a:pt x="223" y="1084"/>
                    </a:cubicBezTo>
                    <a:cubicBezTo>
                      <a:pt x="358" y="1167"/>
                      <a:pt x="358" y="1167"/>
                      <a:pt x="358" y="1167"/>
                    </a:cubicBezTo>
                    <a:cubicBezTo>
                      <a:pt x="475" y="1043"/>
                      <a:pt x="475" y="1043"/>
                      <a:pt x="475" y="1043"/>
                    </a:cubicBezTo>
                    <a:cubicBezTo>
                      <a:pt x="505" y="1055"/>
                      <a:pt x="528" y="1061"/>
                      <a:pt x="557" y="1061"/>
                    </a:cubicBezTo>
                    <a:cubicBezTo>
                      <a:pt x="587" y="1067"/>
                      <a:pt x="616" y="1067"/>
                      <a:pt x="645" y="1061"/>
                    </a:cubicBezTo>
                    <a:cubicBezTo>
                      <a:pt x="733" y="1208"/>
                      <a:pt x="733" y="1208"/>
                      <a:pt x="733" y="1208"/>
                    </a:cubicBezTo>
                    <a:cubicBezTo>
                      <a:pt x="886" y="1155"/>
                      <a:pt x="886" y="1155"/>
                      <a:pt x="886" y="1155"/>
                    </a:cubicBezTo>
                    <a:cubicBezTo>
                      <a:pt x="863" y="984"/>
                      <a:pt x="863" y="984"/>
                      <a:pt x="863" y="984"/>
                    </a:cubicBezTo>
                    <a:cubicBezTo>
                      <a:pt x="910" y="955"/>
                      <a:pt x="951" y="914"/>
                      <a:pt x="980" y="861"/>
                    </a:cubicBezTo>
                    <a:cubicBezTo>
                      <a:pt x="980" y="861"/>
                      <a:pt x="980" y="861"/>
                      <a:pt x="980" y="861"/>
                    </a:cubicBezTo>
                    <a:cubicBezTo>
                      <a:pt x="1150" y="884"/>
                      <a:pt x="1150" y="884"/>
                      <a:pt x="1150" y="884"/>
                    </a:cubicBezTo>
                    <a:cubicBezTo>
                      <a:pt x="1203" y="737"/>
                      <a:pt x="1203" y="737"/>
                      <a:pt x="1203" y="737"/>
                    </a:cubicBezTo>
                    <a:cubicBezTo>
                      <a:pt x="1203" y="737"/>
                      <a:pt x="1203" y="737"/>
                      <a:pt x="1203" y="737"/>
                    </a:cubicBezTo>
                    <a:close/>
                    <a:moveTo>
                      <a:pt x="593" y="743"/>
                    </a:moveTo>
                    <a:cubicBezTo>
                      <a:pt x="522" y="743"/>
                      <a:pt x="522" y="743"/>
                      <a:pt x="522" y="743"/>
                    </a:cubicBezTo>
                    <a:cubicBezTo>
                      <a:pt x="487" y="678"/>
                      <a:pt x="487" y="678"/>
                      <a:pt x="487" y="678"/>
                    </a:cubicBezTo>
                    <a:cubicBezTo>
                      <a:pt x="446" y="619"/>
                      <a:pt x="446" y="619"/>
                      <a:pt x="446" y="619"/>
                    </a:cubicBezTo>
                    <a:cubicBezTo>
                      <a:pt x="475" y="548"/>
                      <a:pt x="475" y="548"/>
                      <a:pt x="475" y="548"/>
                    </a:cubicBezTo>
                    <a:cubicBezTo>
                      <a:pt x="493" y="483"/>
                      <a:pt x="493" y="483"/>
                      <a:pt x="493" y="483"/>
                    </a:cubicBezTo>
                    <a:cubicBezTo>
                      <a:pt x="563" y="460"/>
                      <a:pt x="563" y="460"/>
                      <a:pt x="563" y="460"/>
                    </a:cubicBezTo>
                    <a:cubicBezTo>
                      <a:pt x="628" y="430"/>
                      <a:pt x="628" y="430"/>
                      <a:pt x="628" y="430"/>
                    </a:cubicBezTo>
                    <a:cubicBezTo>
                      <a:pt x="687" y="478"/>
                      <a:pt x="687" y="478"/>
                      <a:pt x="687" y="478"/>
                    </a:cubicBezTo>
                    <a:cubicBezTo>
                      <a:pt x="751" y="507"/>
                      <a:pt x="751" y="507"/>
                      <a:pt x="751" y="507"/>
                    </a:cubicBezTo>
                    <a:cubicBezTo>
                      <a:pt x="757" y="584"/>
                      <a:pt x="757" y="584"/>
                      <a:pt x="757" y="584"/>
                    </a:cubicBezTo>
                    <a:cubicBezTo>
                      <a:pt x="769" y="654"/>
                      <a:pt x="769" y="654"/>
                      <a:pt x="769" y="654"/>
                    </a:cubicBezTo>
                    <a:cubicBezTo>
                      <a:pt x="716" y="701"/>
                      <a:pt x="716" y="701"/>
                      <a:pt x="716" y="701"/>
                    </a:cubicBezTo>
                    <a:cubicBezTo>
                      <a:pt x="663" y="754"/>
                      <a:pt x="663" y="754"/>
                      <a:pt x="663" y="754"/>
                    </a:cubicBezTo>
                    <a:cubicBezTo>
                      <a:pt x="593" y="743"/>
                      <a:pt x="593" y="743"/>
                      <a:pt x="593" y="743"/>
                    </a:cubicBezTo>
                    <a:cubicBezTo>
                      <a:pt x="593" y="743"/>
                      <a:pt x="593" y="743"/>
                      <a:pt x="593" y="743"/>
                    </a:cubicBezTo>
                    <a:close/>
                  </a:path>
                </a:pathLst>
              </a:custGeom>
              <a:solidFill>
                <a:schemeClr val="tx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6"/>
              <p:cNvSpPr>
                <a:spLocks noEditPoints="1"/>
              </p:cNvSpPr>
              <p:nvPr/>
            </p:nvSpPr>
            <p:spPr bwMode="auto">
              <a:xfrm>
                <a:off x="-1411288" y="-292100"/>
                <a:ext cx="490538" cy="487363"/>
              </a:xfrm>
              <a:custGeom>
                <a:avLst/>
                <a:gdLst>
                  <a:gd name="T0" fmla="*/ 106 w 789"/>
                  <a:gd name="T1" fmla="*/ 366 h 784"/>
                  <a:gd name="T2" fmla="*/ 0 w 789"/>
                  <a:gd name="T3" fmla="*/ 401 h 784"/>
                  <a:gd name="T4" fmla="*/ 18 w 789"/>
                  <a:gd name="T5" fmla="*/ 507 h 784"/>
                  <a:gd name="T6" fmla="*/ 130 w 789"/>
                  <a:gd name="T7" fmla="*/ 513 h 784"/>
                  <a:gd name="T8" fmla="*/ 130 w 789"/>
                  <a:gd name="T9" fmla="*/ 513 h 784"/>
                  <a:gd name="T10" fmla="*/ 189 w 789"/>
                  <a:gd name="T11" fmla="*/ 607 h 784"/>
                  <a:gd name="T12" fmla="*/ 153 w 789"/>
                  <a:gd name="T13" fmla="*/ 714 h 784"/>
                  <a:gd name="T14" fmla="*/ 242 w 789"/>
                  <a:gd name="T15" fmla="*/ 761 h 784"/>
                  <a:gd name="T16" fmla="*/ 318 w 789"/>
                  <a:gd name="T17" fmla="*/ 678 h 784"/>
                  <a:gd name="T18" fmla="*/ 318 w 789"/>
                  <a:gd name="T19" fmla="*/ 678 h 784"/>
                  <a:gd name="T20" fmla="*/ 371 w 789"/>
                  <a:gd name="T21" fmla="*/ 690 h 784"/>
                  <a:gd name="T22" fmla="*/ 430 w 789"/>
                  <a:gd name="T23" fmla="*/ 690 h 784"/>
                  <a:gd name="T24" fmla="*/ 430 w 789"/>
                  <a:gd name="T25" fmla="*/ 690 h 784"/>
                  <a:gd name="T26" fmla="*/ 489 w 789"/>
                  <a:gd name="T27" fmla="*/ 784 h 784"/>
                  <a:gd name="T28" fmla="*/ 589 w 789"/>
                  <a:gd name="T29" fmla="*/ 743 h 784"/>
                  <a:gd name="T30" fmla="*/ 571 w 789"/>
                  <a:gd name="T31" fmla="*/ 637 h 784"/>
                  <a:gd name="T32" fmla="*/ 648 w 789"/>
                  <a:gd name="T33" fmla="*/ 554 h 784"/>
                  <a:gd name="T34" fmla="*/ 648 w 789"/>
                  <a:gd name="T35" fmla="*/ 554 h 784"/>
                  <a:gd name="T36" fmla="*/ 754 w 789"/>
                  <a:gd name="T37" fmla="*/ 566 h 784"/>
                  <a:gd name="T38" fmla="*/ 789 w 789"/>
                  <a:gd name="T39" fmla="*/ 466 h 784"/>
                  <a:gd name="T40" fmla="*/ 689 w 789"/>
                  <a:gd name="T41" fmla="*/ 413 h 784"/>
                  <a:gd name="T42" fmla="*/ 689 w 789"/>
                  <a:gd name="T43" fmla="*/ 413 h 784"/>
                  <a:gd name="T44" fmla="*/ 671 w 789"/>
                  <a:gd name="T45" fmla="*/ 301 h 784"/>
                  <a:gd name="T46" fmla="*/ 671 w 789"/>
                  <a:gd name="T47" fmla="*/ 301 h 784"/>
                  <a:gd name="T48" fmla="*/ 754 w 789"/>
                  <a:gd name="T49" fmla="*/ 218 h 784"/>
                  <a:gd name="T50" fmla="*/ 695 w 789"/>
                  <a:gd name="T51" fmla="*/ 136 h 784"/>
                  <a:gd name="T52" fmla="*/ 589 w 789"/>
                  <a:gd name="T53" fmla="*/ 177 h 784"/>
                  <a:gd name="T54" fmla="*/ 495 w 789"/>
                  <a:gd name="T55" fmla="*/ 118 h 784"/>
                  <a:gd name="T56" fmla="*/ 477 w 789"/>
                  <a:gd name="T57" fmla="*/ 6 h 784"/>
                  <a:gd name="T58" fmla="*/ 377 w 789"/>
                  <a:gd name="T59" fmla="*/ 0 h 784"/>
                  <a:gd name="T60" fmla="*/ 347 w 789"/>
                  <a:gd name="T61" fmla="*/ 106 h 784"/>
                  <a:gd name="T62" fmla="*/ 242 w 789"/>
                  <a:gd name="T63" fmla="*/ 148 h 784"/>
                  <a:gd name="T64" fmla="*/ 242 w 789"/>
                  <a:gd name="T65" fmla="*/ 148 h 784"/>
                  <a:gd name="T66" fmla="*/ 147 w 789"/>
                  <a:gd name="T67" fmla="*/ 89 h 784"/>
                  <a:gd name="T68" fmla="*/ 71 w 789"/>
                  <a:gd name="T69" fmla="*/ 165 h 784"/>
                  <a:gd name="T70" fmla="*/ 142 w 789"/>
                  <a:gd name="T71" fmla="*/ 260 h 784"/>
                  <a:gd name="T72" fmla="*/ 142 w 789"/>
                  <a:gd name="T73" fmla="*/ 260 h 784"/>
                  <a:gd name="T74" fmla="*/ 106 w 789"/>
                  <a:gd name="T75" fmla="*/ 366 h 784"/>
                  <a:gd name="T76" fmla="*/ 306 w 789"/>
                  <a:gd name="T77" fmla="*/ 360 h 784"/>
                  <a:gd name="T78" fmla="*/ 318 w 789"/>
                  <a:gd name="T79" fmla="*/ 313 h 784"/>
                  <a:gd name="T80" fmla="*/ 365 w 789"/>
                  <a:gd name="T81" fmla="*/ 301 h 784"/>
                  <a:gd name="T82" fmla="*/ 406 w 789"/>
                  <a:gd name="T83" fmla="*/ 277 h 784"/>
                  <a:gd name="T84" fmla="*/ 448 w 789"/>
                  <a:gd name="T85" fmla="*/ 307 h 784"/>
                  <a:gd name="T86" fmla="*/ 489 w 789"/>
                  <a:gd name="T87" fmla="*/ 325 h 784"/>
                  <a:gd name="T88" fmla="*/ 489 w 789"/>
                  <a:gd name="T89" fmla="*/ 372 h 784"/>
                  <a:gd name="T90" fmla="*/ 500 w 789"/>
                  <a:gd name="T91" fmla="*/ 419 h 784"/>
                  <a:gd name="T92" fmla="*/ 465 w 789"/>
                  <a:gd name="T93" fmla="*/ 454 h 784"/>
                  <a:gd name="T94" fmla="*/ 436 w 789"/>
                  <a:gd name="T95" fmla="*/ 490 h 784"/>
                  <a:gd name="T96" fmla="*/ 389 w 789"/>
                  <a:gd name="T97" fmla="*/ 484 h 784"/>
                  <a:gd name="T98" fmla="*/ 342 w 789"/>
                  <a:gd name="T99" fmla="*/ 484 h 784"/>
                  <a:gd name="T100" fmla="*/ 318 w 789"/>
                  <a:gd name="T101" fmla="*/ 442 h 784"/>
                  <a:gd name="T102" fmla="*/ 289 w 789"/>
                  <a:gd name="T103" fmla="*/ 401 h 784"/>
                  <a:gd name="T104" fmla="*/ 306 w 789"/>
                  <a:gd name="T105" fmla="*/ 360 h 784"/>
                  <a:gd name="T106" fmla="*/ 306 w 789"/>
                  <a:gd name="T107" fmla="*/ 36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9" h="784">
                    <a:moveTo>
                      <a:pt x="106" y="366"/>
                    </a:moveTo>
                    <a:cubicBezTo>
                      <a:pt x="0" y="401"/>
                      <a:pt x="0" y="401"/>
                      <a:pt x="0" y="401"/>
                    </a:cubicBezTo>
                    <a:cubicBezTo>
                      <a:pt x="18" y="507"/>
                      <a:pt x="18" y="507"/>
                      <a:pt x="18" y="507"/>
                    </a:cubicBezTo>
                    <a:cubicBezTo>
                      <a:pt x="130" y="513"/>
                      <a:pt x="130" y="513"/>
                      <a:pt x="130" y="513"/>
                    </a:cubicBezTo>
                    <a:cubicBezTo>
                      <a:pt x="130" y="513"/>
                      <a:pt x="130" y="513"/>
                      <a:pt x="130" y="513"/>
                    </a:cubicBezTo>
                    <a:cubicBezTo>
                      <a:pt x="142" y="549"/>
                      <a:pt x="165" y="578"/>
                      <a:pt x="189" y="607"/>
                    </a:cubicBezTo>
                    <a:cubicBezTo>
                      <a:pt x="153" y="714"/>
                      <a:pt x="153" y="714"/>
                      <a:pt x="153" y="714"/>
                    </a:cubicBezTo>
                    <a:cubicBezTo>
                      <a:pt x="242" y="761"/>
                      <a:pt x="242" y="761"/>
                      <a:pt x="242" y="761"/>
                    </a:cubicBezTo>
                    <a:cubicBezTo>
                      <a:pt x="318" y="678"/>
                      <a:pt x="318" y="678"/>
                      <a:pt x="318" y="678"/>
                    </a:cubicBezTo>
                    <a:cubicBezTo>
                      <a:pt x="318" y="678"/>
                      <a:pt x="318" y="678"/>
                      <a:pt x="318" y="678"/>
                    </a:cubicBezTo>
                    <a:cubicBezTo>
                      <a:pt x="336" y="684"/>
                      <a:pt x="353" y="690"/>
                      <a:pt x="371" y="690"/>
                    </a:cubicBezTo>
                    <a:cubicBezTo>
                      <a:pt x="395" y="690"/>
                      <a:pt x="412" y="690"/>
                      <a:pt x="430" y="690"/>
                    </a:cubicBezTo>
                    <a:cubicBezTo>
                      <a:pt x="430" y="690"/>
                      <a:pt x="430" y="690"/>
                      <a:pt x="430" y="690"/>
                    </a:cubicBezTo>
                    <a:cubicBezTo>
                      <a:pt x="489" y="784"/>
                      <a:pt x="489" y="784"/>
                      <a:pt x="489" y="784"/>
                    </a:cubicBezTo>
                    <a:cubicBezTo>
                      <a:pt x="589" y="743"/>
                      <a:pt x="589" y="743"/>
                      <a:pt x="589" y="743"/>
                    </a:cubicBezTo>
                    <a:cubicBezTo>
                      <a:pt x="571" y="637"/>
                      <a:pt x="571" y="637"/>
                      <a:pt x="571" y="637"/>
                    </a:cubicBezTo>
                    <a:cubicBezTo>
                      <a:pt x="601" y="613"/>
                      <a:pt x="624" y="584"/>
                      <a:pt x="648" y="554"/>
                    </a:cubicBezTo>
                    <a:cubicBezTo>
                      <a:pt x="648" y="554"/>
                      <a:pt x="648" y="554"/>
                      <a:pt x="648" y="554"/>
                    </a:cubicBezTo>
                    <a:cubicBezTo>
                      <a:pt x="754" y="566"/>
                      <a:pt x="754" y="566"/>
                      <a:pt x="754" y="566"/>
                    </a:cubicBezTo>
                    <a:cubicBezTo>
                      <a:pt x="789" y="466"/>
                      <a:pt x="789" y="466"/>
                      <a:pt x="789" y="466"/>
                    </a:cubicBezTo>
                    <a:cubicBezTo>
                      <a:pt x="689" y="413"/>
                      <a:pt x="689" y="413"/>
                      <a:pt x="689" y="413"/>
                    </a:cubicBezTo>
                    <a:cubicBezTo>
                      <a:pt x="689" y="413"/>
                      <a:pt x="689" y="413"/>
                      <a:pt x="689" y="413"/>
                    </a:cubicBezTo>
                    <a:cubicBezTo>
                      <a:pt x="689" y="372"/>
                      <a:pt x="683" y="336"/>
                      <a:pt x="671" y="301"/>
                    </a:cubicBezTo>
                    <a:cubicBezTo>
                      <a:pt x="671" y="301"/>
                      <a:pt x="671" y="301"/>
                      <a:pt x="671" y="301"/>
                    </a:cubicBezTo>
                    <a:cubicBezTo>
                      <a:pt x="754" y="218"/>
                      <a:pt x="754" y="218"/>
                      <a:pt x="754" y="218"/>
                    </a:cubicBezTo>
                    <a:cubicBezTo>
                      <a:pt x="695" y="136"/>
                      <a:pt x="695" y="136"/>
                      <a:pt x="695" y="136"/>
                    </a:cubicBezTo>
                    <a:cubicBezTo>
                      <a:pt x="589" y="177"/>
                      <a:pt x="589" y="177"/>
                      <a:pt x="589" y="177"/>
                    </a:cubicBezTo>
                    <a:cubicBezTo>
                      <a:pt x="559" y="154"/>
                      <a:pt x="530" y="130"/>
                      <a:pt x="495" y="118"/>
                    </a:cubicBezTo>
                    <a:cubicBezTo>
                      <a:pt x="477" y="6"/>
                      <a:pt x="477" y="6"/>
                      <a:pt x="477" y="6"/>
                    </a:cubicBezTo>
                    <a:cubicBezTo>
                      <a:pt x="377" y="0"/>
                      <a:pt x="377" y="0"/>
                      <a:pt x="377" y="0"/>
                    </a:cubicBezTo>
                    <a:cubicBezTo>
                      <a:pt x="347" y="106"/>
                      <a:pt x="347" y="106"/>
                      <a:pt x="347" y="106"/>
                    </a:cubicBezTo>
                    <a:cubicBezTo>
                      <a:pt x="306" y="112"/>
                      <a:pt x="271" y="130"/>
                      <a:pt x="242" y="148"/>
                    </a:cubicBezTo>
                    <a:cubicBezTo>
                      <a:pt x="242" y="148"/>
                      <a:pt x="242" y="148"/>
                      <a:pt x="242" y="148"/>
                    </a:cubicBezTo>
                    <a:cubicBezTo>
                      <a:pt x="147" y="89"/>
                      <a:pt x="147" y="89"/>
                      <a:pt x="147" y="89"/>
                    </a:cubicBezTo>
                    <a:cubicBezTo>
                      <a:pt x="71" y="165"/>
                      <a:pt x="71" y="165"/>
                      <a:pt x="71" y="165"/>
                    </a:cubicBezTo>
                    <a:cubicBezTo>
                      <a:pt x="142" y="260"/>
                      <a:pt x="142" y="260"/>
                      <a:pt x="142" y="260"/>
                    </a:cubicBezTo>
                    <a:cubicBezTo>
                      <a:pt x="142" y="260"/>
                      <a:pt x="142" y="260"/>
                      <a:pt x="142" y="260"/>
                    </a:cubicBezTo>
                    <a:cubicBezTo>
                      <a:pt x="124" y="289"/>
                      <a:pt x="112" y="325"/>
                      <a:pt x="106" y="366"/>
                    </a:cubicBezTo>
                    <a:close/>
                    <a:moveTo>
                      <a:pt x="306" y="360"/>
                    </a:moveTo>
                    <a:cubicBezTo>
                      <a:pt x="318" y="313"/>
                      <a:pt x="318" y="313"/>
                      <a:pt x="318" y="313"/>
                    </a:cubicBezTo>
                    <a:cubicBezTo>
                      <a:pt x="365" y="301"/>
                      <a:pt x="365" y="301"/>
                      <a:pt x="365" y="301"/>
                    </a:cubicBezTo>
                    <a:cubicBezTo>
                      <a:pt x="406" y="277"/>
                      <a:pt x="406" y="277"/>
                      <a:pt x="406" y="277"/>
                    </a:cubicBezTo>
                    <a:cubicBezTo>
                      <a:pt x="448" y="307"/>
                      <a:pt x="448" y="307"/>
                      <a:pt x="448" y="307"/>
                    </a:cubicBezTo>
                    <a:cubicBezTo>
                      <a:pt x="489" y="325"/>
                      <a:pt x="489" y="325"/>
                      <a:pt x="489" y="325"/>
                    </a:cubicBezTo>
                    <a:cubicBezTo>
                      <a:pt x="489" y="372"/>
                      <a:pt x="489" y="372"/>
                      <a:pt x="489" y="372"/>
                    </a:cubicBezTo>
                    <a:cubicBezTo>
                      <a:pt x="500" y="419"/>
                      <a:pt x="500" y="419"/>
                      <a:pt x="500" y="419"/>
                    </a:cubicBezTo>
                    <a:cubicBezTo>
                      <a:pt x="465" y="454"/>
                      <a:pt x="465" y="454"/>
                      <a:pt x="465" y="454"/>
                    </a:cubicBezTo>
                    <a:cubicBezTo>
                      <a:pt x="436" y="490"/>
                      <a:pt x="436" y="490"/>
                      <a:pt x="436" y="490"/>
                    </a:cubicBezTo>
                    <a:cubicBezTo>
                      <a:pt x="389" y="484"/>
                      <a:pt x="389" y="484"/>
                      <a:pt x="389" y="484"/>
                    </a:cubicBezTo>
                    <a:cubicBezTo>
                      <a:pt x="342" y="484"/>
                      <a:pt x="342" y="484"/>
                      <a:pt x="342" y="484"/>
                    </a:cubicBezTo>
                    <a:cubicBezTo>
                      <a:pt x="318" y="442"/>
                      <a:pt x="318" y="442"/>
                      <a:pt x="318" y="442"/>
                    </a:cubicBezTo>
                    <a:cubicBezTo>
                      <a:pt x="289" y="401"/>
                      <a:pt x="289" y="401"/>
                      <a:pt x="289" y="401"/>
                    </a:cubicBezTo>
                    <a:cubicBezTo>
                      <a:pt x="306" y="360"/>
                      <a:pt x="306" y="360"/>
                      <a:pt x="306" y="360"/>
                    </a:cubicBezTo>
                    <a:cubicBezTo>
                      <a:pt x="306" y="360"/>
                      <a:pt x="306" y="360"/>
                      <a:pt x="306" y="360"/>
                    </a:cubicBezTo>
                    <a:close/>
                  </a:path>
                </a:pathLst>
              </a:custGeom>
              <a:solidFill>
                <a:schemeClr val="tx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64" name="Rectangle 63"/>
          <p:cNvSpPr/>
          <p:nvPr/>
        </p:nvSpPr>
        <p:spPr bwMode="auto">
          <a:xfrm>
            <a:off x="-12700" y="1243683"/>
            <a:ext cx="278653" cy="563167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9784531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600" fill="hold"/>
                                        <p:tgtEl>
                                          <p:spTgt spid="13"/>
                                        </p:tgtEl>
                                        <p:attrNameLst>
                                          <p:attrName>ppt_x</p:attrName>
                                        </p:attrNameLst>
                                      </p:cBhvr>
                                      <p:tavLst>
                                        <p:tav tm="0">
                                          <p:val>
                                            <p:strVal val="0-#ppt_w/2"/>
                                          </p:val>
                                        </p:tav>
                                        <p:tav tm="100000">
                                          <p:val>
                                            <p:strVal val="#ppt_x"/>
                                          </p:val>
                                        </p:tav>
                                      </p:tavLst>
                                    </p:anim>
                                    <p:anim calcmode="lin" valueType="num">
                                      <p:cBhvr additive="base">
                                        <p:cTn id="8" dur="6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600"/>
                            </p:stCondLst>
                            <p:childTnLst>
                              <p:par>
                                <p:cTn id="10" presetID="2" presetClass="entr" presetSubtype="8" decel="100000"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600" fill="hold"/>
                                        <p:tgtEl>
                                          <p:spTgt spid="14"/>
                                        </p:tgtEl>
                                        <p:attrNameLst>
                                          <p:attrName>ppt_x</p:attrName>
                                        </p:attrNameLst>
                                      </p:cBhvr>
                                      <p:tavLst>
                                        <p:tav tm="0">
                                          <p:val>
                                            <p:strVal val="0-#ppt_w/2"/>
                                          </p:val>
                                        </p:tav>
                                        <p:tav tm="100000">
                                          <p:val>
                                            <p:strVal val="#ppt_x"/>
                                          </p:val>
                                        </p:tav>
                                      </p:tavLst>
                                    </p:anim>
                                    <p:anim calcmode="lin" valueType="num">
                                      <p:cBhvr additive="base">
                                        <p:cTn id="13" dur="6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200"/>
                            </p:stCondLst>
                            <p:childTnLst>
                              <p:par>
                                <p:cTn id="15" presetID="2" presetClass="entr" presetSubtype="8" decel="100000"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600" fill="hold"/>
                                        <p:tgtEl>
                                          <p:spTgt spid="15"/>
                                        </p:tgtEl>
                                        <p:attrNameLst>
                                          <p:attrName>ppt_x</p:attrName>
                                        </p:attrNameLst>
                                      </p:cBhvr>
                                      <p:tavLst>
                                        <p:tav tm="0">
                                          <p:val>
                                            <p:strVal val="0-#ppt_w/2"/>
                                          </p:val>
                                        </p:tav>
                                        <p:tav tm="100000">
                                          <p:val>
                                            <p:strVal val="#ppt_x"/>
                                          </p:val>
                                        </p:tav>
                                      </p:tavLst>
                                    </p:anim>
                                    <p:anim calcmode="lin" valueType="num">
                                      <p:cBhvr additive="base">
                                        <p:cTn id="18" dur="6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83"/>
          <p:cNvSpPr>
            <a:spLocks noChangeAspect="1"/>
          </p:cNvSpPr>
          <p:nvPr/>
        </p:nvSpPr>
        <p:spPr bwMode="auto">
          <a:xfrm>
            <a:off x="9896451" y="1898125"/>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5" name="Freeform 84"/>
          <p:cNvSpPr>
            <a:spLocks noChangeAspect="1"/>
          </p:cNvSpPr>
          <p:nvPr/>
        </p:nvSpPr>
        <p:spPr bwMode="auto">
          <a:xfrm>
            <a:off x="9240927" y="2685521"/>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2" name="Freeform 81"/>
          <p:cNvSpPr>
            <a:spLocks noChangeAspect="1"/>
          </p:cNvSpPr>
          <p:nvPr/>
        </p:nvSpPr>
        <p:spPr bwMode="auto">
          <a:xfrm>
            <a:off x="7650854" y="1209188"/>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3" name="Freeform 82"/>
          <p:cNvSpPr>
            <a:spLocks noChangeAspect="1"/>
          </p:cNvSpPr>
          <p:nvPr/>
        </p:nvSpPr>
        <p:spPr bwMode="auto">
          <a:xfrm>
            <a:off x="6995330" y="1933815"/>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0" name="Freeform 79"/>
          <p:cNvSpPr>
            <a:spLocks noChangeAspect="1"/>
          </p:cNvSpPr>
          <p:nvPr/>
        </p:nvSpPr>
        <p:spPr bwMode="auto">
          <a:xfrm>
            <a:off x="4062198" y="108167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1" name="Freeform 80"/>
          <p:cNvSpPr>
            <a:spLocks noChangeAspect="1"/>
          </p:cNvSpPr>
          <p:nvPr/>
        </p:nvSpPr>
        <p:spPr bwMode="auto">
          <a:xfrm>
            <a:off x="3406674" y="182423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9" name="Freeform 68"/>
          <p:cNvSpPr>
            <a:spLocks noChangeAspect="1"/>
          </p:cNvSpPr>
          <p:nvPr/>
        </p:nvSpPr>
        <p:spPr bwMode="auto">
          <a:xfrm>
            <a:off x="739661" y="1877666"/>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3" name="Freeform 62"/>
          <p:cNvSpPr>
            <a:spLocks noChangeAspect="1"/>
          </p:cNvSpPr>
          <p:nvPr/>
        </p:nvSpPr>
        <p:spPr bwMode="auto">
          <a:xfrm>
            <a:off x="84137" y="260229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 name="Title 5"/>
          <p:cNvSpPr>
            <a:spLocks noGrp="1"/>
          </p:cNvSpPr>
          <p:nvPr>
            <p:ph type="title"/>
          </p:nvPr>
        </p:nvSpPr>
        <p:spPr>
          <a:xfrm>
            <a:off x="274321" y="296899"/>
            <a:ext cx="11887518" cy="678071"/>
          </a:xfrm>
        </p:spPr>
        <p:txBody>
          <a:bodyPr vert="horz" wrap="square" lIns="0" tIns="0" rIns="0" bIns="0" rtlCol="0" anchor="t">
            <a:spAutoFit/>
          </a:bodyPr>
          <a:lstStyle/>
          <a:p>
            <a:r>
              <a:rPr lang="en-US" sz="4896" dirty="0">
                <a:solidFill>
                  <a:schemeClr val="tx1"/>
                </a:solidFill>
              </a:rPr>
              <a:t>A world of devices and </a:t>
            </a:r>
            <a:r>
              <a:rPr lang="en-US" sz="4896" dirty="0" smtClean="0">
                <a:solidFill>
                  <a:schemeClr val="tx1"/>
                </a:solidFill>
              </a:rPr>
              <a:t>SaaS Applications</a:t>
            </a:r>
            <a:endParaRPr lang="en-US" sz="4896" dirty="0">
              <a:solidFill>
                <a:schemeClr val="tx1"/>
              </a:solidFill>
            </a:endParaRPr>
          </a:p>
        </p:txBody>
      </p:sp>
      <p:sp>
        <p:nvSpPr>
          <p:cNvPr id="70" name="Isosceles Triangle 69"/>
          <p:cNvSpPr/>
          <p:nvPr/>
        </p:nvSpPr>
        <p:spPr bwMode="auto">
          <a:xfrm>
            <a:off x="5666163" y="3494041"/>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523934" y="3493930"/>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2" name="Freeform 20"/>
          <p:cNvSpPr>
            <a:spLocks noEditPoints="1"/>
          </p:cNvSpPr>
          <p:nvPr/>
        </p:nvSpPr>
        <p:spPr bwMode="black">
          <a:xfrm>
            <a:off x="9771834" y="5223327"/>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pic>
        <p:nvPicPr>
          <p:cNvPr id="73" name="Picture 72"/>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173983" y="5129665"/>
            <a:ext cx="226239" cy="408842"/>
          </a:xfrm>
          <a:prstGeom prst="rect">
            <a:avLst/>
          </a:prstGeom>
          <a:solidFill>
            <a:srgbClr val="0070C0"/>
          </a:solidFill>
          <a:ln>
            <a:solidFill>
              <a:schemeClr val="tx1"/>
            </a:solidFill>
          </a:ln>
        </p:spPr>
      </p:pic>
      <p:sp>
        <p:nvSpPr>
          <p:cNvPr id="74" name="Phone icon 2"/>
          <p:cNvSpPr>
            <a:spLocks noChangeAspect="1" noEditPoints="1"/>
          </p:cNvSpPr>
          <p:nvPr/>
        </p:nvSpPr>
        <p:spPr bwMode="auto">
          <a:xfrm>
            <a:off x="6876914" y="5730569"/>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tx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000000"/>
                  </a:gs>
                  <a:gs pos="0">
                    <a:srgbClr val="000000"/>
                  </a:gs>
                </a:gsLst>
                <a:lin ang="5400000" scaled="1"/>
              </a:gradFill>
            </a:endParaRPr>
          </a:p>
        </p:txBody>
      </p:sp>
      <p:sp>
        <p:nvSpPr>
          <p:cNvPr id="75" name="Rounded Rectangle 2"/>
          <p:cNvSpPr>
            <a:spLocks noChangeAspect="1"/>
          </p:cNvSpPr>
          <p:nvPr/>
        </p:nvSpPr>
        <p:spPr>
          <a:xfrm>
            <a:off x="7716095" y="5223327"/>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000000"/>
                  </a:gs>
                  <a:gs pos="0">
                    <a:srgbClr val="000000"/>
                  </a:gs>
                </a:gsLst>
                <a:lin ang="5400000" scaled="1"/>
              </a:gradFill>
            </a:endParaRPr>
          </a:p>
        </p:txBody>
      </p:sp>
      <p:pic>
        <p:nvPicPr>
          <p:cNvPr id="109" name="Picture 108"/>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077149" y="5595377"/>
            <a:ext cx="226239" cy="408842"/>
          </a:xfrm>
          <a:prstGeom prst="rect">
            <a:avLst/>
          </a:prstGeom>
          <a:solidFill>
            <a:srgbClr val="0070C0"/>
          </a:solidFill>
          <a:ln>
            <a:solidFill>
              <a:schemeClr val="tx1"/>
            </a:solidFill>
          </a:ln>
        </p:spPr>
      </p:pic>
      <p:sp>
        <p:nvSpPr>
          <p:cNvPr id="110" name="Freeform 20"/>
          <p:cNvSpPr>
            <a:spLocks noEditPoints="1"/>
          </p:cNvSpPr>
          <p:nvPr/>
        </p:nvSpPr>
        <p:spPr bwMode="black">
          <a:xfrm>
            <a:off x="4984950" y="5679276"/>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sp>
        <p:nvSpPr>
          <p:cNvPr id="111" name="Rounded Rectangle 2"/>
          <p:cNvSpPr>
            <a:spLocks noChangeAspect="1"/>
          </p:cNvSpPr>
          <p:nvPr/>
        </p:nvSpPr>
        <p:spPr>
          <a:xfrm>
            <a:off x="3864344" y="5382465"/>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000000"/>
                  </a:gs>
                  <a:gs pos="0">
                    <a:srgbClr val="000000"/>
                  </a:gs>
                </a:gsLst>
                <a:lin ang="5400000" scaled="1"/>
              </a:gradFill>
            </a:endParaRPr>
          </a:p>
        </p:txBody>
      </p:sp>
      <p:sp>
        <p:nvSpPr>
          <p:cNvPr id="5" name="TextBox 4"/>
          <p:cNvSpPr txBox="1"/>
          <p:nvPr/>
        </p:nvSpPr>
        <p:spPr>
          <a:xfrm>
            <a:off x="726203" y="3211416"/>
            <a:ext cx="1691121"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Salesforce.com</a:t>
            </a:r>
          </a:p>
        </p:txBody>
      </p:sp>
      <p:sp>
        <p:nvSpPr>
          <p:cNvPr id="29" name="TextBox 28"/>
          <p:cNvSpPr txBox="1"/>
          <p:nvPr/>
        </p:nvSpPr>
        <p:spPr>
          <a:xfrm>
            <a:off x="1539889" y="2308347"/>
            <a:ext cx="1691121" cy="256159"/>
          </a:xfrm>
          <a:prstGeom prst="rect">
            <a:avLst/>
          </a:prstGeom>
          <a:noFill/>
        </p:spPr>
        <p:txBody>
          <a:bodyPr wrap="square" lIns="0" tIns="0" rIns="0" bIns="0" rtlCol="0">
            <a:spAutoFit/>
          </a:bodyPr>
          <a:lstStyle/>
          <a:p>
            <a:pPr algn="ctr"/>
            <a:r>
              <a:rPr lang="en-US" sz="1632" dirty="0">
                <a:solidFill>
                  <a:srgbClr val="000000"/>
                </a:solidFill>
                <a:latin typeface="Segoe UI Light" pitchFamily="34" charset="0"/>
              </a:rPr>
              <a:t>force.com</a:t>
            </a:r>
          </a:p>
        </p:txBody>
      </p:sp>
      <p:sp>
        <p:nvSpPr>
          <p:cNvPr id="30" name="TextBox 29"/>
          <p:cNvSpPr txBox="1"/>
          <p:nvPr/>
        </p:nvSpPr>
        <p:spPr>
          <a:xfrm>
            <a:off x="7534717" y="2486792"/>
            <a:ext cx="1691121" cy="576274"/>
          </a:xfrm>
          <a:prstGeom prst="rect">
            <a:avLst/>
          </a:prstGeom>
          <a:noFill/>
        </p:spPr>
        <p:txBody>
          <a:bodyPr wrap="square" lIns="0" tIns="0" rIns="0" bIns="0" rtlCol="0">
            <a:spAutoFit/>
          </a:bodyPr>
          <a:lstStyle/>
          <a:p>
            <a:pPr algn="ctr"/>
            <a:r>
              <a:rPr lang="en-US" sz="1836" dirty="0">
                <a:solidFill>
                  <a:srgbClr val="000000"/>
                </a:solidFill>
                <a:latin typeface="Segoe UI Light" pitchFamily="34" charset="0"/>
              </a:rPr>
              <a:t>Amazon.com</a:t>
            </a:r>
          </a:p>
          <a:p>
            <a:pPr algn="ctr"/>
            <a:r>
              <a:rPr lang="en-US" sz="1836" dirty="0">
                <a:solidFill>
                  <a:srgbClr val="000000"/>
                </a:solidFill>
                <a:latin typeface="Segoe UI Light" pitchFamily="34" charset="0"/>
              </a:rPr>
              <a:t>AWS</a:t>
            </a:r>
          </a:p>
        </p:txBody>
      </p:sp>
      <p:sp>
        <p:nvSpPr>
          <p:cNvPr id="31" name="TextBox 30"/>
          <p:cNvSpPr txBox="1"/>
          <p:nvPr/>
        </p:nvSpPr>
        <p:spPr>
          <a:xfrm>
            <a:off x="9934808" y="3386783"/>
            <a:ext cx="1691121"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Private cloud</a:t>
            </a:r>
          </a:p>
        </p:txBody>
      </p:sp>
      <p:sp>
        <p:nvSpPr>
          <p:cNvPr id="32" name="TextBox 31"/>
          <p:cNvSpPr txBox="1"/>
          <p:nvPr/>
        </p:nvSpPr>
        <p:spPr>
          <a:xfrm>
            <a:off x="9126247" y="1586366"/>
            <a:ext cx="560404"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EC2</a:t>
            </a:r>
          </a:p>
        </p:txBody>
      </p:sp>
      <p:sp>
        <p:nvSpPr>
          <p:cNvPr id="33" name="Phone icon 2"/>
          <p:cNvSpPr>
            <a:spLocks noChangeAspect="1" noEditPoints="1"/>
          </p:cNvSpPr>
          <p:nvPr/>
        </p:nvSpPr>
        <p:spPr bwMode="auto">
          <a:xfrm>
            <a:off x="8737001" y="5198593"/>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tx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000000"/>
                  </a:gs>
                  <a:gs pos="0">
                    <a:srgbClr val="000000"/>
                  </a:gs>
                </a:gsLst>
                <a:lin ang="5400000" scaled="1"/>
              </a:gradFill>
            </a:endParaRPr>
          </a:p>
        </p:txBody>
      </p:sp>
      <p:sp>
        <p:nvSpPr>
          <p:cNvPr id="34" name="Freeform 20"/>
          <p:cNvSpPr>
            <a:spLocks noEditPoints="1"/>
          </p:cNvSpPr>
          <p:nvPr/>
        </p:nvSpPr>
        <p:spPr bwMode="black">
          <a:xfrm>
            <a:off x="1378572" y="5647899"/>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cxnSp>
        <p:nvCxnSpPr>
          <p:cNvPr id="10" name="Straight Arrow Connector 9"/>
          <p:cNvCxnSpPr/>
          <p:nvPr/>
        </p:nvCxnSpPr>
        <p:spPr>
          <a:xfrm>
            <a:off x="1378573" y="4051927"/>
            <a:ext cx="374176" cy="155550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895960" y="3253942"/>
            <a:ext cx="2616251" cy="229432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2051394" y="3337889"/>
            <a:ext cx="5184563" cy="236581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7391391" y="3493324"/>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206926" y="3448631"/>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206926" y="4051928"/>
            <a:ext cx="1040754"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10266746" y="4051928"/>
            <a:ext cx="48398"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318897" y="3292458"/>
            <a:ext cx="4780962" cy="176917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525073" y="3669296"/>
            <a:ext cx="2890412" cy="19882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841895" y="3212314"/>
            <a:ext cx="664601" cy="23478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6301064" y="3352672"/>
            <a:ext cx="549624" cy="171148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74" idx="1"/>
          </p:cNvCxnSpPr>
          <p:nvPr/>
        </p:nvCxnSpPr>
        <p:spPr>
          <a:xfrm>
            <a:off x="5673383" y="3081994"/>
            <a:ext cx="1203702" cy="26486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774202" y="3268118"/>
            <a:ext cx="412462" cy="22703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3685676" y="3185346"/>
            <a:ext cx="451927" cy="208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a:off x="4278536" y="3253942"/>
            <a:ext cx="2476221" cy="20037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5555625" y="4069905"/>
            <a:ext cx="3413270" cy="15798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8504951" y="3379177"/>
            <a:ext cx="1712665" cy="16824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1325271" y="2465299"/>
            <a:ext cx="1226506" cy="192135"/>
          </a:xfrm>
          <a:prstGeom prst="rect">
            <a:avLst/>
          </a:prstGeom>
          <a:noFill/>
        </p:spPr>
        <p:txBody>
          <a:bodyPr wrap="square" lIns="0" tIns="0" rIns="0" bIns="0" rtlCol="0">
            <a:spAutoFit/>
          </a:bodyPr>
          <a:lstStyle/>
          <a:p>
            <a:r>
              <a:rPr lang="en-US" sz="1224" dirty="0">
                <a:solidFill>
                  <a:srgbClr val="000000"/>
                </a:solidFill>
                <a:latin typeface="Segoe Pro"/>
              </a:rPr>
              <a:t>System Center</a:t>
            </a:r>
          </a:p>
        </p:txBody>
      </p:sp>
      <p:pic>
        <p:nvPicPr>
          <p:cNvPr id="51" name="Picture 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35318" y="2178429"/>
            <a:ext cx="1472234" cy="346054"/>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41894" y="1446670"/>
            <a:ext cx="1721851" cy="399225"/>
          </a:xfrm>
          <a:prstGeom prst="rect">
            <a:avLst/>
          </a:prstGeom>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61731" y="2524483"/>
            <a:ext cx="1509278" cy="522490"/>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81965" y="2203721"/>
            <a:ext cx="1438241" cy="299775"/>
          </a:xfrm>
          <a:prstGeom prst="rect">
            <a:avLst/>
          </a:prstGeom>
        </p:spPr>
      </p:pic>
    </p:spTree>
    <p:extLst>
      <p:ext uri="{BB962C8B-B14F-4D97-AF65-F5344CB8AC3E}">
        <p14:creationId xmlns:p14="http://schemas.microsoft.com/office/powerpoint/2010/main" val="168816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1000"/>
                                        <p:tgtEl>
                                          <p:spTgt spid="10"/>
                                        </p:tgtEl>
                                      </p:cBhvr>
                                    </p:animEffect>
                                  </p:childTnLst>
                                </p:cTn>
                              </p:par>
                              <p:par>
                                <p:cTn id="8" presetID="22" presetClass="entr" presetSubtype="1"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wipe(up)">
                                      <p:cBhvr>
                                        <p:cTn id="10" dur="1000"/>
                                        <p:tgtEl>
                                          <p:spTgt spid="39"/>
                                        </p:tgtEl>
                                      </p:cBhvr>
                                    </p:animEffect>
                                  </p:childTnLst>
                                </p:cTn>
                              </p:par>
                              <p:par>
                                <p:cTn id="11" presetID="22" presetClass="entr" presetSubtype="4"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ipe(down)">
                                      <p:cBhvr>
                                        <p:cTn id="13" dur="1000"/>
                                        <p:tgtEl>
                                          <p:spTgt spid="42"/>
                                        </p:tgtEl>
                                      </p:cBhvr>
                                    </p:animEffect>
                                  </p:childTnLst>
                                </p:cTn>
                              </p:par>
                              <p:par>
                                <p:cTn id="14" presetID="22" presetClass="entr" presetSubtype="1" fill="hold"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up)">
                                      <p:cBhvr>
                                        <p:cTn id="16" dur="1000"/>
                                        <p:tgtEl>
                                          <p:spTgt spid="66"/>
                                        </p:tgtEl>
                                      </p:cBhvr>
                                    </p:animEffect>
                                  </p:childTnLst>
                                </p:cTn>
                              </p:par>
                              <p:par>
                                <p:cTn id="17" presetID="22" presetClass="entr" presetSubtype="4"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wipe(down)">
                                      <p:cBhvr>
                                        <p:cTn id="19" dur="1000"/>
                                        <p:tgtEl>
                                          <p:spTgt spid="54"/>
                                        </p:tgtEl>
                                      </p:cBhvr>
                                    </p:animEffect>
                                  </p:childTnLst>
                                </p:cTn>
                              </p:par>
                              <p:par>
                                <p:cTn id="20" presetID="22" presetClass="entr" presetSubtype="1" fill="hold"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wipe(up)">
                                      <p:cBhvr>
                                        <p:cTn id="22" dur="1000"/>
                                        <p:tgtEl>
                                          <p:spTgt spid="67"/>
                                        </p:tgtEl>
                                      </p:cBhvr>
                                    </p:animEffect>
                                  </p:childTnLst>
                                </p:cTn>
                              </p:par>
                              <p:par>
                                <p:cTn id="23" presetID="22" presetClass="entr" presetSubtype="4"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wipe(down)">
                                      <p:cBhvr>
                                        <p:cTn id="25" dur="1000"/>
                                        <p:tgtEl>
                                          <p:spTgt spid="68"/>
                                        </p:tgtEl>
                                      </p:cBhvr>
                                    </p:animEffect>
                                  </p:childTnLst>
                                </p:cTn>
                              </p:par>
                              <p:par>
                                <p:cTn id="26" presetID="22" presetClass="entr" presetSubtype="1" fill="hold"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wipe(up)">
                                      <p:cBhvr>
                                        <p:cTn id="28" dur="1000"/>
                                        <p:tgtEl>
                                          <p:spTgt spid="56"/>
                                        </p:tgtEl>
                                      </p:cBhvr>
                                    </p:animEffect>
                                  </p:childTnLst>
                                </p:cTn>
                              </p:par>
                              <p:par>
                                <p:cTn id="29" presetID="22" presetClass="entr" presetSubtype="4"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ipe(down)">
                                      <p:cBhvr>
                                        <p:cTn id="31" dur="1000"/>
                                        <p:tgtEl>
                                          <p:spTgt spid="65"/>
                                        </p:tgtEl>
                                      </p:cBhvr>
                                    </p:animEffect>
                                  </p:childTnLst>
                                </p:cTn>
                              </p:par>
                              <p:par>
                                <p:cTn id="32" presetID="22" presetClass="entr" presetSubtype="1" fill="hold" nodeType="with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wipe(up)">
                                      <p:cBhvr>
                                        <p:cTn id="34" dur="1000"/>
                                        <p:tgtEl>
                                          <p:spTgt spid="59"/>
                                        </p:tgtEl>
                                      </p:cBhvr>
                                    </p:animEffect>
                                  </p:childTnLst>
                                </p:cTn>
                              </p:par>
                              <p:par>
                                <p:cTn id="35" presetID="22" presetClass="entr" presetSubtype="4" fill="hold" nodeType="with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wipe(down)">
                                      <p:cBhvr>
                                        <p:cTn id="37" dur="1000"/>
                                        <p:tgtEl>
                                          <p:spTgt spid="76"/>
                                        </p:tgtEl>
                                      </p:cBhvr>
                                    </p:animEffect>
                                  </p:childTnLst>
                                </p:cTn>
                              </p:par>
                              <p:par>
                                <p:cTn id="38" presetID="22" presetClass="entr" presetSubtype="1" fill="hold" nodeType="with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up)">
                                      <p:cBhvr>
                                        <p:cTn id="40" dur="1000"/>
                                        <p:tgtEl>
                                          <p:spTgt spid="44"/>
                                        </p:tgtEl>
                                      </p:cBhvr>
                                    </p:animEffect>
                                  </p:childTnLst>
                                </p:cTn>
                              </p:par>
                              <p:par>
                                <p:cTn id="41" presetID="22" presetClass="entr" presetSubtype="4" fill="hold" nodeType="with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wipe(down)">
                                      <p:cBhvr>
                                        <p:cTn id="43" dur="1000"/>
                                        <p:tgtEl>
                                          <p:spTgt spid="46"/>
                                        </p:tgtEl>
                                      </p:cBhvr>
                                    </p:animEffect>
                                  </p:childTnLst>
                                </p:cTn>
                              </p:par>
                              <p:par>
                                <p:cTn id="44" presetID="22" presetClass="entr" presetSubtype="1" fill="hold" nodeType="withEffect">
                                  <p:stCondLst>
                                    <p:cond delay="0"/>
                                  </p:stCondLst>
                                  <p:childTnLst>
                                    <p:set>
                                      <p:cBhvr>
                                        <p:cTn id="45" dur="1" fill="hold">
                                          <p:stCondLst>
                                            <p:cond delay="0"/>
                                          </p:stCondLst>
                                        </p:cTn>
                                        <p:tgtEl>
                                          <p:spTgt spid="47"/>
                                        </p:tgtEl>
                                        <p:attrNameLst>
                                          <p:attrName>style.visibility</p:attrName>
                                        </p:attrNameLst>
                                      </p:cBhvr>
                                      <p:to>
                                        <p:strVal val="visible"/>
                                      </p:to>
                                    </p:set>
                                    <p:animEffect transition="in" filter="wipe(up)">
                                      <p:cBhvr>
                                        <p:cTn id="46" dur="1000"/>
                                        <p:tgtEl>
                                          <p:spTgt spid="47"/>
                                        </p:tgtEl>
                                      </p:cBhvr>
                                    </p:animEffect>
                                  </p:childTnLst>
                                </p:cTn>
                              </p:par>
                              <p:par>
                                <p:cTn id="47" presetID="22" presetClass="entr" presetSubtype="4" fill="hold" nodeType="with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wipe(down)">
                                      <p:cBhvr>
                                        <p:cTn id="49" dur="1000"/>
                                        <p:tgtEl>
                                          <p:spTgt spid="52"/>
                                        </p:tgtEl>
                                      </p:cBhvr>
                                    </p:animEffect>
                                  </p:childTnLst>
                                </p:cTn>
                              </p:par>
                              <p:par>
                                <p:cTn id="50" presetID="22" presetClass="entr" presetSubtype="1" fill="hold" nodeType="with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wipe(up)">
                                      <p:cBhvr>
                                        <p:cTn id="52" dur="1000"/>
                                        <p:tgtEl>
                                          <p:spTgt spid="50"/>
                                        </p:tgtEl>
                                      </p:cBhvr>
                                    </p:animEffect>
                                  </p:childTnLst>
                                </p:cTn>
                              </p:par>
                              <p:par>
                                <p:cTn id="53" presetID="22" presetClass="entr" presetSubtype="4" fill="hold" nodeType="with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down)">
                                      <p:cBhvr>
                                        <p:cTn id="55" dur="10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chemeClr val="tx1"/>
                </a:solidFill>
              </a:rPr>
              <a:t>Public </a:t>
            </a:r>
            <a:r>
              <a:rPr lang="en-US" sz="4000" dirty="0" smtClean="0">
                <a:solidFill>
                  <a:schemeClr val="tx1"/>
                </a:solidFill>
              </a:rPr>
              <a:t>Identity </a:t>
            </a:r>
            <a:r>
              <a:rPr lang="en-US" sz="4000" dirty="0">
                <a:solidFill>
                  <a:schemeClr val="tx1"/>
                </a:solidFill>
              </a:rPr>
              <a:t>as the control point</a:t>
            </a:r>
          </a:p>
        </p:txBody>
      </p:sp>
      <p:grpSp>
        <p:nvGrpSpPr>
          <p:cNvPr id="182" name="Group 181"/>
          <p:cNvGrpSpPr/>
          <p:nvPr/>
        </p:nvGrpSpPr>
        <p:grpSpPr>
          <a:xfrm>
            <a:off x="3006687" y="1778701"/>
            <a:ext cx="5298373" cy="2469969"/>
            <a:chOff x="3384901" y="1919409"/>
            <a:chExt cx="5298373" cy="2469969"/>
          </a:xfrm>
        </p:grpSpPr>
        <p:sp>
          <p:nvSpPr>
            <p:cNvPr id="70" name="Freeform 128"/>
            <p:cNvSpPr>
              <a:spLocks noChangeAspect="1"/>
            </p:cNvSpPr>
            <p:nvPr/>
          </p:nvSpPr>
          <p:spPr bwMode="black">
            <a:xfrm>
              <a:off x="4491993" y="1919409"/>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8" name="Freeform 128"/>
            <p:cNvSpPr>
              <a:spLocks noChangeAspect="1"/>
            </p:cNvSpPr>
            <p:nvPr/>
          </p:nvSpPr>
          <p:spPr bwMode="black">
            <a:xfrm>
              <a:off x="3384901" y="2074058"/>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w="3810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dirty="0">
                <a:solidFill>
                  <a:srgbClr val="505050"/>
                </a:solidFill>
              </a:endParaRPr>
            </a:p>
          </p:txBody>
        </p:sp>
      </p:grpSp>
      <p:sp>
        <p:nvSpPr>
          <p:cNvPr id="190" name="Freeform 189"/>
          <p:cNvSpPr/>
          <p:nvPr/>
        </p:nvSpPr>
        <p:spPr bwMode="auto">
          <a:xfrm>
            <a:off x="2758373" y="3109163"/>
            <a:ext cx="2553933" cy="8539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175" name="Group 174"/>
          <p:cNvGrpSpPr/>
          <p:nvPr/>
        </p:nvGrpSpPr>
        <p:grpSpPr>
          <a:xfrm rot="900000">
            <a:off x="3056576" y="2686688"/>
            <a:ext cx="801928" cy="791897"/>
            <a:chOff x="3242937" y="2319398"/>
            <a:chExt cx="796924" cy="786956"/>
          </a:xfrm>
        </p:grpSpPr>
        <p:sp>
          <p:nvSpPr>
            <p:cNvPr id="174" name="Oval 173"/>
            <p:cNvSpPr/>
            <p:nvPr/>
          </p:nvSpPr>
          <p:spPr bwMode="auto">
            <a:xfrm>
              <a:off x="3247921" y="2319398"/>
              <a:ext cx="786956" cy="78695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2" name="Freeform 31"/>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13" name="Group 12"/>
          <p:cNvGrpSpPr/>
          <p:nvPr/>
        </p:nvGrpSpPr>
        <p:grpSpPr>
          <a:xfrm>
            <a:off x="4313651" y="5154619"/>
            <a:ext cx="2706624" cy="1543044"/>
            <a:chOff x="3063990" y="4892436"/>
            <a:chExt cx="2706624" cy="1543044"/>
          </a:xfrm>
        </p:grpSpPr>
        <p:sp>
          <p:nvSpPr>
            <p:cNvPr id="164" name="Rectangle 163"/>
            <p:cNvSpPr/>
            <p:nvPr/>
          </p:nvSpPr>
          <p:spPr bwMode="auto">
            <a:xfrm>
              <a:off x="3063990" y="4892436"/>
              <a:ext cx="2706624" cy="1543044"/>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78" name="TextBox 77"/>
            <p:cNvSpPr txBox="1"/>
            <p:nvPr/>
          </p:nvSpPr>
          <p:spPr>
            <a:xfrm>
              <a:off x="3366714" y="6154876"/>
              <a:ext cx="2106932" cy="193899"/>
            </a:xfrm>
            <a:prstGeom prst="rect">
              <a:avLst/>
            </a:prstGeom>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PCs and devices</a:t>
              </a:r>
            </a:p>
          </p:txBody>
        </p:sp>
        <p:sp>
          <p:nvSpPr>
            <p:cNvPr id="84" name="Freeform 27"/>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6" name="Freeform 27"/>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7" name="Freeform 27"/>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75" name="Picture 74"/>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108" name="Picture 10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222104" y="5466632"/>
              <a:ext cx="228600" cy="392115"/>
            </a:xfrm>
            <a:prstGeom prst="rect">
              <a:avLst/>
            </a:prstGeom>
          </p:spPr>
        </p:pic>
        <p:pic>
          <p:nvPicPr>
            <p:cNvPr id="110" name="Picture 109"/>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716019" y="5331840"/>
              <a:ext cx="402472" cy="605833"/>
            </a:xfrm>
            <a:prstGeom prst="rect">
              <a:avLst/>
            </a:prstGeom>
          </p:spPr>
        </p:pic>
        <p:sp>
          <p:nvSpPr>
            <p:cNvPr id="129" name="Freeform 6"/>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79" name="Freeform 78"/>
          <p:cNvSpPr/>
          <p:nvPr/>
        </p:nvSpPr>
        <p:spPr bwMode="auto">
          <a:xfrm flipH="1">
            <a:off x="8905819" y="2284785"/>
            <a:ext cx="180975" cy="1715715"/>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80" name="Freeform 79"/>
          <p:cNvSpPr/>
          <p:nvPr/>
        </p:nvSpPr>
        <p:spPr bwMode="auto">
          <a:xfrm flipH="1" flipV="1">
            <a:off x="6320114" y="3240790"/>
            <a:ext cx="2468880" cy="65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sp>
        <p:nvSpPr>
          <p:cNvPr id="85" name="Freeform 84"/>
          <p:cNvSpPr/>
          <p:nvPr/>
        </p:nvSpPr>
        <p:spPr bwMode="auto">
          <a:xfrm flipH="1" flipV="1">
            <a:off x="6096154" y="3065782"/>
            <a:ext cx="2743200" cy="10581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1"/>
            </a:solidFill>
            <a:prstDash val="sysDot"/>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18" name="Group 17"/>
          <p:cNvGrpSpPr/>
          <p:nvPr/>
        </p:nvGrpSpPr>
        <p:grpSpPr>
          <a:xfrm>
            <a:off x="9095026" y="1281245"/>
            <a:ext cx="2778525" cy="3800176"/>
            <a:chOff x="9095026" y="1141545"/>
            <a:chExt cx="2778525" cy="3800176"/>
          </a:xfrm>
        </p:grpSpPr>
        <p:sp>
          <p:nvSpPr>
            <p:cNvPr id="126" name="Rectangle 125"/>
            <p:cNvSpPr/>
            <p:nvPr/>
          </p:nvSpPr>
          <p:spPr bwMode="auto">
            <a:xfrm>
              <a:off x="9095026" y="1141545"/>
              <a:ext cx="2778525" cy="1823211"/>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5" name="Freeform 128"/>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sp>
          <p:nvSpPr>
            <p:cNvPr id="127" name="Rectangle 126"/>
            <p:cNvSpPr/>
            <p:nvPr/>
          </p:nvSpPr>
          <p:spPr bwMode="auto">
            <a:xfrm>
              <a:off x="9095026" y="3062993"/>
              <a:ext cx="2778525" cy="187872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67" name="TextBox 66"/>
            <p:cNvSpPr txBox="1"/>
            <p:nvPr/>
          </p:nvSpPr>
          <p:spPr>
            <a:xfrm>
              <a:off x="9606056" y="2720319"/>
              <a:ext cx="1885342" cy="1938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Microsoft apps</a:t>
              </a:r>
            </a:p>
          </p:txBody>
        </p:sp>
        <p:sp>
          <p:nvSpPr>
            <p:cNvPr id="71" name="TextBox 70"/>
            <p:cNvSpPr txBox="1"/>
            <p:nvPr/>
          </p:nvSpPr>
          <p:spPr>
            <a:xfrm>
              <a:off x="9390366" y="4699638"/>
              <a:ext cx="2106932" cy="193899"/>
            </a:xfrm>
            <a:prstGeom prst="rect">
              <a:avLst/>
            </a:prstGeom>
            <a:noFill/>
          </p:spPr>
          <p:txBody>
            <a:bodyPr wrap="square" lIns="0" tIns="0" rIns="0" bIns="0" rtlCol="0">
              <a:spAutoFit/>
            </a:bodyPr>
            <a:lstStyle/>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Non-MS cloud-based apps</a:t>
              </a:r>
            </a:p>
          </p:txBody>
        </p:sp>
        <p:sp>
          <p:nvSpPr>
            <p:cNvPr id="76" name="Freeform 128"/>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sz="1400">
                <a:solidFill>
                  <a:srgbClr val="505050"/>
                </a:solidFill>
              </a:endParaRPr>
            </a:p>
          </p:txBody>
        </p:sp>
        <p:sp>
          <p:nvSpPr>
            <p:cNvPr id="147" name="TextBox 146"/>
            <p:cNvSpPr txBox="1"/>
            <p:nvPr/>
          </p:nvSpPr>
          <p:spPr>
            <a:xfrm>
              <a:off x="9450055" y="4223198"/>
              <a:ext cx="1195386" cy="258532"/>
            </a:xfrm>
            <a:prstGeom prst="rect">
              <a:avLst/>
            </a:prstGeom>
            <a:noFill/>
          </p:spPr>
          <p:txBody>
            <a:bodyPr wrap="square" lIns="0" tIns="0" rIns="0" bIns="0" rtlCol="0">
              <a:spAutoFit/>
            </a:bodyPr>
            <a:lstStyle/>
            <a:p>
              <a:pPr algn="ctr" defTabSz="1243038">
                <a:lnSpc>
                  <a:spcPct val="80000"/>
                </a:lnSpc>
                <a:buSzPct val="80000"/>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54" name="Rectangle 53"/>
            <p:cNvSpPr/>
            <p:nvPr/>
          </p:nvSpPr>
          <p:spPr bwMode="auto">
            <a:xfrm>
              <a:off x="9601293"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1600" spc="-50" dirty="0" smtClean="0">
                <a:gradFill>
                  <a:gsLst>
                    <a:gs pos="1250">
                      <a:srgbClr val="EFEFEF"/>
                    </a:gs>
                    <a:gs pos="10417">
                      <a:srgbClr val="EFEFEF"/>
                    </a:gs>
                  </a:gsLst>
                  <a:lin ang="5400000" scaled="0"/>
                </a:gradFill>
              </a:endParaRPr>
            </a:p>
          </p:txBody>
        </p:sp>
        <p:grpSp>
          <p:nvGrpSpPr>
            <p:cNvPr id="17" name="Group 16"/>
            <p:cNvGrpSpPr/>
            <p:nvPr/>
          </p:nvGrpSpPr>
          <p:grpSpPr>
            <a:xfrm>
              <a:off x="9688017" y="1806886"/>
              <a:ext cx="1889705" cy="774530"/>
              <a:chOff x="9872235" y="1501354"/>
              <a:chExt cx="2631523" cy="1078578"/>
            </a:xfrm>
          </p:grpSpPr>
          <p:pic>
            <p:nvPicPr>
              <p:cNvPr id="14" name="Picture 13"/>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041425" y="1501354"/>
                <a:ext cx="2462333" cy="284679"/>
              </a:xfrm>
              <a:prstGeom prst="rect">
                <a:avLst/>
              </a:prstGeom>
            </p:spPr>
          </p:pic>
          <p:pic>
            <p:nvPicPr>
              <p:cNvPr id="15" name="Picture 14"/>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04285" y="1711122"/>
                <a:ext cx="1545751" cy="535444"/>
              </a:xfrm>
              <a:prstGeom prst="rect">
                <a:avLst/>
              </a:prstGeom>
            </p:spPr>
          </p:pic>
          <p:pic>
            <p:nvPicPr>
              <p:cNvPr id="16" name="Picture 15"/>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872235" y="2038806"/>
                <a:ext cx="2138523" cy="541126"/>
              </a:xfrm>
              <a:prstGeom prst="rect">
                <a:avLst/>
              </a:prstGeom>
            </p:spPr>
          </p:pic>
        </p:grpSp>
        <p:grpSp>
          <p:nvGrpSpPr>
            <p:cNvPr id="11" name="Group 10"/>
            <p:cNvGrpSpPr/>
            <p:nvPr/>
          </p:nvGrpSpPr>
          <p:grpSpPr>
            <a:xfrm>
              <a:off x="9666829" y="3928967"/>
              <a:ext cx="717510" cy="308948"/>
              <a:chOff x="3096005" y="909698"/>
              <a:chExt cx="6564589" cy="2826597"/>
            </a:xfrm>
          </p:grpSpPr>
          <p:pic>
            <p:nvPicPr>
              <p:cNvPr id="23" name="Picture 22"/>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096005" y="975535"/>
                <a:ext cx="3972212" cy="1212861"/>
              </a:xfrm>
              <a:prstGeom prst="rect">
                <a:avLst/>
              </a:prstGeom>
            </p:spPr>
          </p:pic>
          <p:pic>
            <p:nvPicPr>
              <p:cNvPr id="61" name="Picture 6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096005" y="2181010"/>
                <a:ext cx="3972212" cy="1235323"/>
              </a:xfrm>
              <a:prstGeom prst="rect">
                <a:avLst/>
              </a:prstGeom>
            </p:spPr>
          </p:pic>
          <p:pic>
            <p:nvPicPr>
              <p:cNvPr id="63" name="Picture 62"/>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068217" y="909698"/>
                <a:ext cx="2592377" cy="2826597"/>
              </a:xfrm>
              <a:prstGeom prst="rect">
                <a:avLst/>
              </a:prstGeom>
            </p:spPr>
          </p:pic>
          <p:sp>
            <p:nvSpPr>
              <p:cNvPr id="10" name="Rectangle 9"/>
              <p:cNvSpPr/>
              <p:nvPr/>
            </p:nvSpPr>
            <p:spPr bwMode="auto">
              <a:xfrm>
                <a:off x="7564694" y="1703145"/>
                <a:ext cx="2041371" cy="167777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 name="Freeform 5"/>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72" name="TextBox 71"/>
            <p:cNvSpPr txBox="1"/>
            <p:nvPr/>
          </p:nvSpPr>
          <p:spPr>
            <a:xfrm>
              <a:off x="10350422" y="4223198"/>
              <a:ext cx="1195386" cy="258532"/>
            </a:xfrm>
            <a:prstGeom prst="rect">
              <a:avLst/>
            </a:prstGeom>
            <a:noFill/>
          </p:spPr>
          <p:txBody>
            <a:bodyPr wrap="square" lIns="0" tIns="0" rIns="0" bIns="0" rtlCol="0">
              <a:spAutoFit/>
            </a:bodyPr>
            <a:lstStyle/>
            <a:p>
              <a:pPr algn="ctr" defTabSz="1243038">
                <a:lnSpc>
                  <a:spcPct val="80000"/>
                </a:lnSpc>
                <a:buSzPct val="80000"/>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73" name="Rectangle 72"/>
            <p:cNvSpPr/>
            <p:nvPr/>
          </p:nvSpPr>
          <p:spPr bwMode="auto">
            <a:xfrm>
              <a:off x="10501660" y="3888550"/>
              <a:ext cx="845289" cy="629457"/>
            </a:xfrm>
            <a:prstGeom prst="rect">
              <a:avLst/>
            </a:prstGeom>
            <a:noFill/>
            <a:ln w="28575">
              <a:solidFill>
                <a:schemeClr val="bg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1600" spc="-50" dirty="0" smtClean="0">
                <a:gradFill>
                  <a:gsLst>
                    <a:gs pos="1250">
                      <a:srgbClr val="EFEFEF"/>
                    </a:gs>
                    <a:gs pos="10417">
                      <a:srgbClr val="EFEFEF"/>
                    </a:gs>
                  </a:gsLst>
                  <a:lin ang="5400000" scaled="0"/>
                </a:gradFill>
              </a:endParaRPr>
            </a:p>
          </p:txBody>
        </p:sp>
        <p:grpSp>
          <p:nvGrpSpPr>
            <p:cNvPr id="74" name="Group 73"/>
            <p:cNvGrpSpPr/>
            <p:nvPr/>
          </p:nvGrpSpPr>
          <p:grpSpPr>
            <a:xfrm>
              <a:off x="10567196" y="3913360"/>
              <a:ext cx="712748" cy="299972"/>
              <a:chOff x="3096005" y="766908"/>
              <a:chExt cx="6521021" cy="2744475"/>
            </a:xfrm>
          </p:grpSpPr>
          <p:pic>
            <p:nvPicPr>
              <p:cNvPr id="77" name="Picture 76"/>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096005" y="975535"/>
                <a:ext cx="3972212" cy="1212861"/>
              </a:xfrm>
              <a:prstGeom prst="rect">
                <a:avLst/>
              </a:prstGeom>
            </p:spPr>
          </p:pic>
          <p:pic>
            <p:nvPicPr>
              <p:cNvPr id="88" name="Picture 87"/>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096005" y="2181010"/>
                <a:ext cx="3972212" cy="1235323"/>
              </a:xfrm>
              <a:prstGeom prst="rect">
                <a:avLst/>
              </a:prstGeom>
            </p:spPr>
          </p:pic>
          <p:pic>
            <p:nvPicPr>
              <p:cNvPr id="96" name="Picture 95"/>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7099964" y="766908"/>
                <a:ext cx="2517062" cy="2744475"/>
              </a:xfrm>
              <a:prstGeom prst="rect">
                <a:avLst/>
              </a:prstGeom>
            </p:spPr>
          </p:pic>
          <p:sp>
            <p:nvSpPr>
              <p:cNvPr id="97" name="Rectangle 96"/>
              <p:cNvSpPr/>
              <p:nvPr/>
            </p:nvSpPr>
            <p:spPr bwMode="auto">
              <a:xfrm>
                <a:off x="7572142" y="1488626"/>
                <a:ext cx="1747483" cy="167165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8" name="Freeform 5"/>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no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grpSp>
        <p:nvGrpSpPr>
          <p:cNvPr id="5" name="Group 4"/>
          <p:cNvGrpSpPr/>
          <p:nvPr/>
        </p:nvGrpSpPr>
        <p:grpSpPr>
          <a:xfrm>
            <a:off x="4832952" y="2532638"/>
            <a:ext cx="1712827" cy="1638834"/>
            <a:chOff x="4872551" y="2534458"/>
            <a:chExt cx="1712827" cy="1638834"/>
          </a:xfrm>
        </p:grpSpPr>
        <p:sp>
          <p:nvSpPr>
            <p:cNvPr id="58" name="Rectangle 57"/>
            <p:cNvSpPr/>
            <p:nvPr/>
          </p:nvSpPr>
          <p:spPr>
            <a:xfrm>
              <a:off x="4872551" y="3927071"/>
              <a:ext cx="1436291"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600" dirty="0" smtClean="0">
                  <a:ln>
                    <a:solidFill>
                      <a:srgbClr val="FFFFFF">
                        <a:alpha val="0"/>
                      </a:srgbClr>
                    </a:solidFill>
                  </a:ln>
                  <a:solidFill>
                    <a:srgbClr val="0072C6"/>
                  </a:solidFill>
                  <a:latin typeface="Segoe"/>
                </a:rPr>
                <a:t>Active Directory</a:t>
              </a:r>
              <a:endParaRPr lang="en-US" sz="1600" dirty="0">
                <a:ln>
                  <a:solidFill>
                    <a:srgbClr val="FFFFFF">
                      <a:alpha val="0"/>
                    </a:srgbClr>
                  </a:solidFill>
                </a:ln>
                <a:solidFill>
                  <a:srgbClr val="0072C6"/>
                </a:solidFill>
                <a:latin typeface="Segoe"/>
              </a:endParaRPr>
            </a:p>
          </p:txBody>
        </p:sp>
        <p:grpSp>
          <p:nvGrpSpPr>
            <p:cNvPr id="4" name="Group 3"/>
            <p:cNvGrpSpPr/>
            <p:nvPr/>
          </p:nvGrpSpPr>
          <p:grpSpPr>
            <a:xfrm>
              <a:off x="5085223" y="2534458"/>
              <a:ext cx="1350118" cy="1163895"/>
              <a:chOff x="5148777" y="2688135"/>
              <a:chExt cx="1350118" cy="1163895"/>
            </a:xfrm>
          </p:grpSpPr>
          <p:sp>
            <p:nvSpPr>
              <p:cNvPr id="3" name="Isosceles Triangle 2"/>
              <p:cNvSpPr/>
              <p:nvPr/>
            </p:nvSpPr>
            <p:spPr bwMode="auto">
              <a:xfrm>
                <a:off x="5148777" y="2688135"/>
                <a:ext cx="1350118" cy="1163895"/>
              </a:xfrm>
              <a:prstGeom prst="triangl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pic>
            <p:nvPicPr>
              <p:cNvPr id="94" name="Picture 93" descr="Windows Azure Active Directory"/>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82" name="Freeform 5"/>
            <p:cNvSpPr>
              <a:spLocks noEditPoints="1"/>
            </p:cNvSpPr>
            <p:nvPr/>
          </p:nvSpPr>
          <p:spPr bwMode="auto">
            <a:xfrm>
              <a:off x="4935863" y="3728522"/>
              <a:ext cx="1649515" cy="213130"/>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srgbClr val="505050"/>
                </a:solidFill>
              </a:endParaRPr>
            </a:p>
          </p:txBody>
        </p:sp>
      </p:grpSp>
      <p:sp>
        <p:nvSpPr>
          <p:cNvPr id="7" name="Freeform 6"/>
          <p:cNvSpPr/>
          <p:nvPr/>
        </p:nvSpPr>
        <p:spPr bwMode="auto">
          <a:xfrm>
            <a:off x="5678488" y="4324350"/>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a:solidFill>
              <a:schemeClr val="accent1"/>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03"/>
            <a:endParaRPr lang="en-US">
              <a:solidFill>
                <a:srgbClr val="EFEFEF"/>
              </a:solidFill>
            </a:endParaRPr>
          </a:p>
        </p:txBody>
      </p:sp>
      <p:grpSp>
        <p:nvGrpSpPr>
          <p:cNvPr id="29" name="Group 28"/>
          <p:cNvGrpSpPr/>
          <p:nvPr/>
        </p:nvGrpSpPr>
        <p:grpSpPr>
          <a:xfrm>
            <a:off x="261347" y="3247410"/>
            <a:ext cx="2444879" cy="1621453"/>
            <a:chOff x="261347" y="3247410"/>
            <a:chExt cx="2444879" cy="1621453"/>
          </a:xfrm>
        </p:grpSpPr>
        <p:sp>
          <p:nvSpPr>
            <p:cNvPr id="69" name="Rectangle 68"/>
            <p:cNvSpPr/>
            <p:nvPr/>
          </p:nvSpPr>
          <p:spPr bwMode="auto">
            <a:xfrm>
              <a:off x="261347" y="3247410"/>
              <a:ext cx="2444879" cy="1621453"/>
            </a:xfrm>
            <a:prstGeom prst="rect">
              <a:avLst/>
            </a:prstGeom>
            <a:solidFill>
              <a:schemeClr val="bg1"/>
            </a:solid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a:p>
              <a:pPr algn="ctr" defTabSz="914099" fontAlgn="base">
                <a:lnSpc>
                  <a:spcPct val="90000"/>
                </a:lnSpc>
                <a:spcBef>
                  <a:spcPct val="0"/>
                </a:spcBef>
                <a:spcAft>
                  <a:spcPct val="0"/>
                </a:spcAft>
                <a:buSzPct val="80000"/>
              </a:pPr>
              <a:r>
                <a:rPr lang="en-US" sz="1400" spc="-50" dirty="0">
                  <a:gradFill>
                    <a:gsLst>
                      <a:gs pos="1250">
                        <a:srgbClr val="008272"/>
                      </a:gs>
                      <a:gs pos="100000">
                        <a:srgbClr val="008272"/>
                      </a:gs>
                    </a:gsLst>
                    <a:lin ang="5400000" scaled="0"/>
                  </a:gradFill>
                </a:rPr>
                <a:t>Other Directories</a:t>
              </a:r>
            </a:p>
          </p:txBody>
        </p:sp>
        <p:grpSp>
          <p:nvGrpSpPr>
            <p:cNvPr id="28" name="Group 27"/>
            <p:cNvGrpSpPr/>
            <p:nvPr/>
          </p:nvGrpSpPr>
          <p:grpSpPr>
            <a:xfrm>
              <a:off x="1166311" y="3515638"/>
              <a:ext cx="634951" cy="890676"/>
              <a:chOff x="2290073" y="5400845"/>
              <a:chExt cx="693737" cy="973138"/>
            </a:xfrm>
          </p:grpSpPr>
          <p:sp>
            <p:nvSpPr>
              <p:cNvPr id="22" name="Freeform 5"/>
              <p:cNvSpPr>
                <a:spLocks noEditPoints="1"/>
              </p:cNvSpPr>
              <p:nvPr/>
            </p:nvSpPr>
            <p:spPr bwMode="auto">
              <a:xfrm>
                <a:off x="2290073" y="5400845"/>
                <a:ext cx="693737" cy="973138"/>
              </a:xfrm>
              <a:custGeom>
                <a:avLst/>
                <a:gdLst>
                  <a:gd name="T0" fmla="*/ 1608 w 1608"/>
                  <a:gd name="T1" fmla="*/ 121 h 2259"/>
                  <a:gd name="T2" fmla="*/ 1176 w 1608"/>
                  <a:gd name="T3" fmla="*/ 243 h 2259"/>
                  <a:gd name="T4" fmla="*/ 1176 w 1608"/>
                  <a:gd name="T5" fmla="*/ 0 h 2259"/>
                  <a:gd name="T6" fmla="*/ 0 w 1608"/>
                  <a:gd name="T7" fmla="*/ 341 h 2259"/>
                  <a:gd name="T8" fmla="*/ 0 w 1608"/>
                  <a:gd name="T9" fmla="*/ 2143 h 2259"/>
                  <a:gd name="T10" fmla="*/ 427 w 1608"/>
                  <a:gd name="T11" fmla="*/ 2259 h 2259"/>
                  <a:gd name="T12" fmla="*/ 427 w 1608"/>
                  <a:gd name="T13" fmla="*/ 462 h 2259"/>
                  <a:gd name="T14" fmla="*/ 506 w 1608"/>
                  <a:gd name="T15" fmla="*/ 438 h 2259"/>
                  <a:gd name="T16" fmla="*/ 506 w 1608"/>
                  <a:gd name="T17" fmla="*/ 2241 h 2259"/>
                  <a:gd name="T18" fmla="*/ 1608 w 1608"/>
                  <a:gd name="T19" fmla="*/ 1924 h 2259"/>
                  <a:gd name="T20" fmla="*/ 1608 w 1608"/>
                  <a:gd name="T21" fmla="*/ 121 h 2259"/>
                  <a:gd name="T22" fmla="*/ 1608 w 1608"/>
                  <a:gd name="T23" fmla="*/ 121 h 2259"/>
                  <a:gd name="T24" fmla="*/ 213 w 1608"/>
                  <a:gd name="T25" fmla="*/ 2015 h 2259"/>
                  <a:gd name="T26" fmla="*/ 134 w 1608"/>
                  <a:gd name="T27" fmla="*/ 1887 h 2259"/>
                  <a:gd name="T28" fmla="*/ 213 w 1608"/>
                  <a:gd name="T29" fmla="*/ 1802 h 2259"/>
                  <a:gd name="T30" fmla="*/ 293 w 1608"/>
                  <a:gd name="T31" fmla="*/ 1930 h 2259"/>
                  <a:gd name="T32" fmla="*/ 213 w 1608"/>
                  <a:gd name="T33" fmla="*/ 2015 h 2259"/>
                  <a:gd name="T34" fmla="*/ 287 w 1608"/>
                  <a:gd name="T35" fmla="*/ 1619 h 2259"/>
                  <a:gd name="T36" fmla="*/ 140 w 1608"/>
                  <a:gd name="T37" fmla="*/ 1577 h 2259"/>
                  <a:gd name="T38" fmla="*/ 140 w 1608"/>
                  <a:gd name="T39" fmla="*/ 584 h 2259"/>
                  <a:gd name="T40" fmla="*/ 287 w 1608"/>
                  <a:gd name="T41" fmla="*/ 627 h 2259"/>
                  <a:gd name="T42" fmla="*/ 287 w 1608"/>
                  <a:gd name="T43" fmla="*/ 1619 h 2259"/>
                  <a:gd name="T44" fmla="*/ 287 w 1608"/>
                  <a:gd name="T45" fmla="*/ 1619 h 2259"/>
                  <a:gd name="T46" fmla="*/ 1298 w 1608"/>
                  <a:gd name="T47" fmla="*/ 956 h 2259"/>
                  <a:gd name="T48" fmla="*/ 853 w 1608"/>
                  <a:gd name="T49" fmla="*/ 1090 h 2259"/>
                  <a:gd name="T50" fmla="*/ 853 w 1608"/>
                  <a:gd name="T51" fmla="*/ 803 h 2259"/>
                  <a:gd name="T52" fmla="*/ 1298 w 1608"/>
                  <a:gd name="T53" fmla="*/ 676 h 2259"/>
                  <a:gd name="T54" fmla="*/ 1298 w 1608"/>
                  <a:gd name="T55" fmla="*/ 956 h 2259"/>
                  <a:gd name="T56" fmla="*/ 1298 w 1608"/>
                  <a:gd name="T57" fmla="*/ 956 h 2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8" h="2259">
                    <a:moveTo>
                      <a:pt x="1608" y="121"/>
                    </a:moveTo>
                    <a:cubicBezTo>
                      <a:pt x="1176" y="243"/>
                      <a:pt x="1176" y="243"/>
                      <a:pt x="1176" y="243"/>
                    </a:cubicBezTo>
                    <a:cubicBezTo>
                      <a:pt x="1176" y="0"/>
                      <a:pt x="1176" y="0"/>
                      <a:pt x="1176" y="0"/>
                    </a:cubicBezTo>
                    <a:cubicBezTo>
                      <a:pt x="0" y="341"/>
                      <a:pt x="0" y="341"/>
                      <a:pt x="0" y="341"/>
                    </a:cubicBezTo>
                    <a:cubicBezTo>
                      <a:pt x="0" y="2143"/>
                      <a:pt x="0" y="2143"/>
                      <a:pt x="0" y="2143"/>
                    </a:cubicBezTo>
                    <a:cubicBezTo>
                      <a:pt x="427" y="2259"/>
                      <a:pt x="427" y="2259"/>
                      <a:pt x="427" y="2259"/>
                    </a:cubicBezTo>
                    <a:cubicBezTo>
                      <a:pt x="427" y="462"/>
                      <a:pt x="427" y="462"/>
                      <a:pt x="427" y="462"/>
                    </a:cubicBezTo>
                    <a:cubicBezTo>
                      <a:pt x="506" y="438"/>
                      <a:pt x="506" y="438"/>
                      <a:pt x="506" y="438"/>
                    </a:cubicBezTo>
                    <a:cubicBezTo>
                      <a:pt x="506" y="2241"/>
                      <a:pt x="506" y="2241"/>
                      <a:pt x="506" y="2241"/>
                    </a:cubicBezTo>
                    <a:cubicBezTo>
                      <a:pt x="1608" y="1924"/>
                      <a:pt x="1608" y="1924"/>
                      <a:pt x="1608" y="1924"/>
                    </a:cubicBezTo>
                    <a:cubicBezTo>
                      <a:pt x="1608" y="121"/>
                      <a:pt x="1608" y="121"/>
                      <a:pt x="1608" y="121"/>
                    </a:cubicBezTo>
                    <a:cubicBezTo>
                      <a:pt x="1608" y="121"/>
                      <a:pt x="1608" y="121"/>
                      <a:pt x="1608" y="121"/>
                    </a:cubicBezTo>
                    <a:close/>
                    <a:moveTo>
                      <a:pt x="213" y="2015"/>
                    </a:moveTo>
                    <a:cubicBezTo>
                      <a:pt x="171" y="2003"/>
                      <a:pt x="134" y="1948"/>
                      <a:pt x="134" y="1887"/>
                    </a:cubicBezTo>
                    <a:cubicBezTo>
                      <a:pt x="134" y="1827"/>
                      <a:pt x="171" y="1790"/>
                      <a:pt x="213" y="1802"/>
                    </a:cubicBezTo>
                    <a:cubicBezTo>
                      <a:pt x="256" y="1814"/>
                      <a:pt x="293" y="1869"/>
                      <a:pt x="293" y="1930"/>
                    </a:cubicBezTo>
                    <a:cubicBezTo>
                      <a:pt x="293" y="1991"/>
                      <a:pt x="256" y="2027"/>
                      <a:pt x="213" y="2015"/>
                    </a:cubicBezTo>
                    <a:close/>
                    <a:moveTo>
                      <a:pt x="287" y="1619"/>
                    </a:moveTo>
                    <a:cubicBezTo>
                      <a:pt x="140" y="1577"/>
                      <a:pt x="140" y="1577"/>
                      <a:pt x="140" y="1577"/>
                    </a:cubicBezTo>
                    <a:cubicBezTo>
                      <a:pt x="140" y="584"/>
                      <a:pt x="140" y="584"/>
                      <a:pt x="140" y="584"/>
                    </a:cubicBezTo>
                    <a:cubicBezTo>
                      <a:pt x="287" y="627"/>
                      <a:pt x="287" y="627"/>
                      <a:pt x="287" y="627"/>
                    </a:cubicBezTo>
                    <a:cubicBezTo>
                      <a:pt x="287" y="1619"/>
                      <a:pt x="287" y="1619"/>
                      <a:pt x="287" y="1619"/>
                    </a:cubicBezTo>
                    <a:cubicBezTo>
                      <a:pt x="287" y="1619"/>
                      <a:pt x="287" y="1619"/>
                      <a:pt x="287" y="1619"/>
                    </a:cubicBezTo>
                    <a:close/>
                    <a:moveTo>
                      <a:pt x="1298" y="956"/>
                    </a:moveTo>
                    <a:cubicBezTo>
                      <a:pt x="853" y="1090"/>
                      <a:pt x="853" y="1090"/>
                      <a:pt x="853" y="1090"/>
                    </a:cubicBezTo>
                    <a:cubicBezTo>
                      <a:pt x="853" y="803"/>
                      <a:pt x="853" y="803"/>
                      <a:pt x="853" y="803"/>
                    </a:cubicBezTo>
                    <a:cubicBezTo>
                      <a:pt x="1298" y="676"/>
                      <a:pt x="1298" y="676"/>
                      <a:pt x="1298" y="676"/>
                    </a:cubicBezTo>
                    <a:cubicBezTo>
                      <a:pt x="1298" y="956"/>
                      <a:pt x="1298" y="956"/>
                      <a:pt x="1298" y="956"/>
                    </a:cubicBezTo>
                    <a:cubicBezTo>
                      <a:pt x="1298" y="956"/>
                      <a:pt x="1298" y="956"/>
                      <a:pt x="1298" y="9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7" name="Freeform 26"/>
              <p:cNvSpPr/>
              <p:nvPr/>
            </p:nvSpPr>
            <p:spPr bwMode="auto">
              <a:xfrm>
                <a:off x="2327275" y="5435601"/>
                <a:ext cx="590550" cy="171450"/>
              </a:xfrm>
              <a:custGeom>
                <a:avLst/>
                <a:gdLst>
                  <a:gd name="connsiteX0" fmla="*/ 676275 w 676275"/>
                  <a:gd name="connsiteY0" fmla="*/ 44450 h 190500"/>
                  <a:gd name="connsiteX1" fmla="*/ 504825 w 676275"/>
                  <a:gd name="connsiteY1" fmla="*/ 0 h 190500"/>
                  <a:gd name="connsiteX2" fmla="*/ 0 w 676275"/>
                  <a:gd name="connsiteY2" fmla="*/ 136525 h 190500"/>
                  <a:gd name="connsiteX3" fmla="*/ 184150 w 676275"/>
                  <a:gd name="connsiteY3" fmla="*/ 190500 h 190500"/>
                  <a:gd name="connsiteX4" fmla="*/ 676275 w 676275"/>
                  <a:gd name="connsiteY4" fmla="*/ 44450 h 190500"/>
                  <a:gd name="connsiteX0" fmla="*/ 676275 w 676275"/>
                  <a:gd name="connsiteY0" fmla="*/ 44450 h 212725"/>
                  <a:gd name="connsiteX1" fmla="*/ 504825 w 676275"/>
                  <a:gd name="connsiteY1" fmla="*/ 0 h 212725"/>
                  <a:gd name="connsiteX2" fmla="*/ 0 w 676275"/>
                  <a:gd name="connsiteY2" fmla="*/ 136525 h 212725"/>
                  <a:gd name="connsiteX3" fmla="*/ 209550 w 676275"/>
                  <a:gd name="connsiteY3" fmla="*/ 212725 h 212725"/>
                  <a:gd name="connsiteX4" fmla="*/ 676275 w 676275"/>
                  <a:gd name="connsiteY4" fmla="*/ 44450 h 212725"/>
                  <a:gd name="connsiteX0" fmla="*/ 641350 w 641350"/>
                  <a:gd name="connsiteY0" fmla="*/ 57150 h 212725"/>
                  <a:gd name="connsiteX1" fmla="*/ 504825 w 641350"/>
                  <a:gd name="connsiteY1" fmla="*/ 0 h 212725"/>
                  <a:gd name="connsiteX2" fmla="*/ 0 w 641350"/>
                  <a:gd name="connsiteY2" fmla="*/ 136525 h 212725"/>
                  <a:gd name="connsiteX3" fmla="*/ 209550 w 641350"/>
                  <a:gd name="connsiteY3" fmla="*/ 212725 h 212725"/>
                  <a:gd name="connsiteX4" fmla="*/ 641350 w 641350"/>
                  <a:gd name="connsiteY4" fmla="*/ 57150 h 212725"/>
                  <a:gd name="connsiteX0" fmla="*/ 666750 w 666750"/>
                  <a:gd name="connsiteY0" fmla="*/ 44450 h 212725"/>
                  <a:gd name="connsiteX1" fmla="*/ 504825 w 666750"/>
                  <a:gd name="connsiteY1" fmla="*/ 0 h 212725"/>
                  <a:gd name="connsiteX2" fmla="*/ 0 w 666750"/>
                  <a:gd name="connsiteY2" fmla="*/ 136525 h 212725"/>
                  <a:gd name="connsiteX3" fmla="*/ 209550 w 666750"/>
                  <a:gd name="connsiteY3" fmla="*/ 212725 h 212725"/>
                  <a:gd name="connsiteX4" fmla="*/ 666750 w 666750"/>
                  <a:gd name="connsiteY4" fmla="*/ 44450 h 212725"/>
                  <a:gd name="connsiteX0" fmla="*/ 666750 w 666750"/>
                  <a:gd name="connsiteY0" fmla="*/ 44450 h 200025"/>
                  <a:gd name="connsiteX1" fmla="*/ 504825 w 666750"/>
                  <a:gd name="connsiteY1" fmla="*/ 0 h 200025"/>
                  <a:gd name="connsiteX2" fmla="*/ 0 w 666750"/>
                  <a:gd name="connsiteY2" fmla="*/ 136525 h 200025"/>
                  <a:gd name="connsiteX3" fmla="*/ 209550 w 666750"/>
                  <a:gd name="connsiteY3" fmla="*/ 200025 h 200025"/>
                  <a:gd name="connsiteX4" fmla="*/ 666750 w 666750"/>
                  <a:gd name="connsiteY4" fmla="*/ 44450 h 200025"/>
                  <a:gd name="connsiteX0" fmla="*/ 666750 w 666750"/>
                  <a:gd name="connsiteY0" fmla="*/ 44450 h 168275"/>
                  <a:gd name="connsiteX1" fmla="*/ 504825 w 666750"/>
                  <a:gd name="connsiteY1" fmla="*/ 0 h 168275"/>
                  <a:gd name="connsiteX2" fmla="*/ 0 w 666750"/>
                  <a:gd name="connsiteY2" fmla="*/ 136525 h 168275"/>
                  <a:gd name="connsiteX3" fmla="*/ 222250 w 666750"/>
                  <a:gd name="connsiteY3" fmla="*/ 168275 h 168275"/>
                  <a:gd name="connsiteX4" fmla="*/ 666750 w 666750"/>
                  <a:gd name="connsiteY4" fmla="*/ 44450 h 168275"/>
                  <a:gd name="connsiteX0" fmla="*/ 666750 w 666750"/>
                  <a:gd name="connsiteY0" fmla="*/ 44450 h 177800"/>
                  <a:gd name="connsiteX1" fmla="*/ 504825 w 666750"/>
                  <a:gd name="connsiteY1" fmla="*/ 0 h 177800"/>
                  <a:gd name="connsiteX2" fmla="*/ 0 w 666750"/>
                  <a:gd name="connsiteY2" fmla="*/ 136525 h 177800"/>
                  <a:gd name="connsiteX3" fmla="*/ 196850 w 666750"/>
                  <a:gd name="connsiteY3" fmla="*/ 177800 h 177800"/>
                  <a:gd name="connsiteX4" fmla="*/ 666750 w 666750"/>
                  <a:gd name="connsiteY4" fmla="*/ 44450 h 177800"/>
                  <a:gd name="connsiteX0" fmla="*/ 666750 w 666750"/>
                  <a:gd name="connsiteY0" fmla="*/ 44450 h 136525"/>
                  <a:gd name="connsiteX1" fmla="*/ 504825 w 666750"/>
                  <a:gd name="connsiteY1" fmla="*/ 0 h 136525"/>
                  <a:gd name="connsiteX2" fmla="*/ 0 w 666750"/>
                  <a:gd name="connsiteY2" fmla="*/ 136525 h 136525"/>
                  <a:gd name="connsiteX3" fmla="*/ 174625 w 666750"/>
                  <a:gd name="connsiteY3" fmla="*/ 123825 h 136525"/>
                  <a:gd name="connsiteX4" fmla="*/ 666750 w 666750"/>
                  <a:gd name="connsiteY4" fmla="*/ 44450 h 136525"/>
                  <a:gd name="connsiteX0" fmla="*/ 666750 w 666750"/>
                  <a:gd name="connsiteY0" fmla="*/ 44450 h 180975"/>
                  <a:gd name="connsiteX1" fmla="*/ 504825 w 666750"/>
                  <a:gd name="connsiteY1" fmla="*/ 0 h 180975"/>
                  <a:gd name="connsiteX2" fmla="*/ 0 w 666750"/>
                  <a:gd name="connsiteY2" fmla="*/ 136525 h 180975"/>
                  <a:gd name="connsiteX3" fmla="*/ 177800 w 666750"/>
                  <a:gd name="connsiteY3" fmla="*/ 180975 h 180975"/>
                  <a:gd name="connsiteX4" fmla="*/ 666750 w 666750"/>
                  <a:gd name="connsiteY4" fmla="*/ 44450 h 180975"/>
                  <a:gd name="connsiteX0" fmla="*/ 654050 w 654050"/>
                  <a:gd name="connsiteY0" fmla="*/ 41275 h 180975"/>
                  <a:gd name="connsiteX1" fmla="*/ 504825 w 654050"/>
                  <a:gd name="connsiteY1" fmla="*/ 0 h 180975"/>
                  <a:gd name="connsiteX2" fmla="*/ 0 w 654050"/>
                  <a:gd name="connsiteY2" fmla="*/ 136525 h 180975"/>
                  <a:gd name="connsiteX3" fmla="*/ 177800 w 654050"/>
                  <a:gd name="connsiteY3" fmla="*/ 180975 h 180975"/>
                  <a:gd name="connsiteX4" fmla="*/ 654050 w 654050"/>
                  <a:gd name="connsiteY4" fmla="*/ 41275 h 180975"/>
                  <a:gd name="connsiteX0" fmla="*/ 654050 w 654050"/>
                  <a:gd name="connsiteY0" fmla="*/ 41275 h 180975"/>
                  <a:gd name="connsiteX1" fmla="*/ 504825 w 654050"/>
                  <a:gd name="connsiteY1" fmla="*/ 0 h 180975"/>
                  <a:gd name="connsiteX2" fmla="*/ 0 w 654050"/>
                  <a:gd name="connsiteY2" fmla="*/ 152400 h 180975"/>
                  <a:gd name="connsiteX3" fmla="*/ 177800 w 654050"/>
                  <a:gd name="connsiteY3" fmla="*/ 180975 h 180975"/>
                  <a:gd name="connsiteX4" fmla="*/ 654050 w 654050"/>
                  <a:gd name="connsiteY4" fmla="*/ 41275 h 180975"/>
                  <a:gd name="connsiteX0" fmla="*/ 615950 w 615950"/>
                  <a:gd name="connsiteY0" fmla="*/ 41275 h 180975"/>
                  <a:gd name="connsiteX1" fmla="*/ 466725 w 615950"/>
                  <a:gd name="connsiteY1" fmla="*/ 0 h 180975"/>
                  <a:gd name="connsiteX2" fmla="*/ 0 w 615950"/>
                  <a:gd name="connsiteY2" fmla="*/ 136525 h 180975"/>
                  <a:gd name="connsiteX3" fmla="*/ 139700 w 615950"/>
                  <a:gd name="connsiteY3" fmla="*/ 180975 h 180975"/>
                  <a:gd name="connsiteX4" fmla="*/ 615950 w 615950"/>
                  <a:gd name="connsiteY4" fmla="*/ 41275 h 180975"/>
                  <a:gd name="connsiteX0" fmla="*/ 615950 w 615950"/>
                  <a:gd name="connsiteY0" fmla="*/ 41275 h 161925"/>
                  <a:gd name="connsiteX1" fmla="*/ 466725 w 615950"/>
                  <a:gd name="connsiteY1" fmla="*/ 0 h 161925"/>
                  <a:gd name="connsiteX2" fmla="*/ 0 w 615950"/>
                  <a:gd name="connsiteY2" fmla="*/ 136525 h 161925"/>
                  <a:gd name="connsiteX3" fmla="*/ 158750 w 615950"/>
                  <a:gd name="connsiteY3" fmla="*/ 161925 h 161925"/>
                  <a:gd name="connsiteX4" fmla="*/ 615950 w 615950"/>
                  <a:gd name="connsiteY4" fmla="*/ 41275 h 161925"/>
                  <a:gd name="connsiteX0" fmla="*/ 615950 w 615950"/>
                  <a:gd name="connsiteY0" fmla="*/ 41275 h 139700"/>
                  <a:gd name="connsiteX1" fmla="*/ 466725 w 615950"/>
                  <a:gd name="connsiteY1" fmla="*/ 0 h 139700"/>
                  <a:gd name="connsiteX2" fmla="*/ 0 w 615950"/>
                  <a:gd name="connsiteY2" fmla="*/ 136525 h 139700"/>
                  <a:gd name="connsiteX3" fmla="*/ 196850 w 615950"/>
                  <a:gd name="connsiteY3" fmla="*/ 139700 h 139700"/>
                  <a:gd name="connsiteX4" fmla="*/ 615950 w 615950"/>
                  <a:gd name="connsiteY4" fmla="*/ 41275 h 139700"/>
                  <a:gd name="connsiteX0" fmla="*/ 615950 w 615950"/>
                  <a:gd name="connsiteY0" fmla="*/ 41275 h 161925"/>
                  <a:gd name="connsiteX1" fmla="*/ 466725 w 615950"/>
                  <a:gd name="connsiteY1" fmla="*/ 0 h 161925"/>
                  <a:gd name="connsiteX2" fmla="*/ 0 w 615950"/>
                  <a:gd name="connsiteY2" fmla="*/ 136525 h 161925"/>
                  <a:gd name="connsiteX3" fmla="*/ 152400 w 615950"/>
                  <a:gd name="connsiteY3" fmla="*/ 161925 h 161925"/>
                  <a:gd name="connsiteX4" fmla="*/ 615950 w 615950"/>
                  <a:gd name="connsiteY4" fmla="*/ 41275 h 161925"/>
                  <a:gd name="connsiteX0" fmla="*/ 615950 w 615950"/>
                  <a:gd name="connsiteY0" fmla="*/ 41275 h 171450"/>
                  <a:gd name="connsiteX1" fmla="*/ 466725 w 615950"/>
                  <a:gd name="connsiteY1" fmla="*/ 0 h 171450"/>
                  <a:gd name="connsiteX2" fmla="*/ 0 w 615950"/>
                  <a:gd name="connsiteY2" fmla="*/ 136525 h 171450"/>
                  <a:gd name="connsiteX3" fmla="*/ 139700 w 615950"/>
                  <a:gd name="connsiteY3" fmla="*/ 171450 h 171450"/>
                  <a:gd name="connsiteX4" fmla="*/ 615950 w 615950"/>
                  <a:gd name="connsiteY4" fmla="*/ 41275 h 171450"/>
                  <a:gd name="connsiteX0" fmla="*/ 603250 w 603250"/>
                  <a:gd name="connsiteY0" fmla="*/ 38100 h 171450"/>
                  <a:gd name="connsiteX1" fmla="*/ 466725 w 603250"/>
                  <a:gd name="connsiteY1" fmla="*/ 0 h 171450"/>
                  <a:gd name="connsiteX2" fmla="*/ 0 w 603250"/>
                  <a:gd name="connsiteY2" fmla="*/ 136525 h 171450"/>
                  <a:gd name="connsiteX3" fmla="*/ 139700 w 603250"/>
                  <a:gd name="connsiteY3" fmla="*/ 171450 h 171450"/>
                  <a:gd name="connsiteX4" fmla="*/ 603250 w 603250"/>
                  <a:gd name="connsiteY4" fmla="*/ 38100 h 171450"/>
                  <a:gd name="connsiteX0" fmla="*/ 590550 w 590550"/>
                  <a:gd name="connsiteY0" fmla="*/ 31750 h 171450"/>
                  <a:gd name="connsiteX1" fmla="*/ 466725 w 590550"/>
                  <a:gd name="connsiteY1" fmla="*/ 0 h 171450"/>
                  <a:gd name="connsiteX2" fmla="*/ 0 w 590550"/>
                  <a:gd name="connsiteY2" fmla="*/ 136525 h 171450"/>
                  <a:gd name="connsiteX3" fmla="*/ 139700 w 590550"/>
                  <a:gd name="connsiteY3" fmla="*/ 171450 h 171450"/>
                  <a:gd name="connsiteX4" fmla="*/ 590550 w 590550"/>
                  <a:gd name="connsiteY4" fmla="*/ 3175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550" h="171450">
                    <a:moveTo>
                      <a:pt x="590550" y="31750"/>
                    </a:moveTo>
                    <a:lnTo>
                      <a:pt x="466725" y="0"/>
                    </a:lnTo>
                    <a:lnTo>
                      <a:pt x="0" y="136525"/>
                    </a:lnTo>
                    <a:lnTo>
                      <a:pt x="139700" y="171450"/>
                    </a:lnTo>
                    <a:lnTo>
                      <a:pt x="590550" y="3175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2" name="Group 11"/>
          <p:cNvGrpSpPr/>
          <p:nvPr/>
        </p:nvGrpSpPr>
        <p:grpSpPr>
          <a:xfrm>
            <a:off x="272314" y="1276938"/>
            <a:ext cx="2444879" cy="1720268"/>
            <a:chOff x="272314" y="1276938"/>
            <a:chExt cx="2444879" cy="1720268"/>
          </a:xfrm>
        </p:grpSpPr>
        <p:grpSp>
          <p:nvGrpSpPr>
            <p:cNvPr id="21" name="Group 20"/>
            <p:cNvGrpSpPr/>
            <p:nvPr/>
          </p:nvGrpSpPr>
          <p:grpSpPr>
            <a:xfrm>
              <a:off x="272314" y="1276938"/>
              <a:ext cx="2444879" cy="1720268"/>
              <a:chOff x="218065" y="2298702"/>
              <a:chExt cx="2444879" cy="1720268"/>
            </a:xfrm>
          </p:grpSpPr>
          <p:sp>
            <p:nvSpPr>
              <p:cNvPr id="93" name="Rectangle 92"/>
              <p:cNvSpPr/>
              <p:nvPr/>
            </p:nvSpPr>
            <p:spPr bwMode="auto">
              <a:xfrm>
                <a:off x="218065" y="2298702"/>
                <a:ext cx="2444879" cy="1720268"/>
              </a:xfrm>
              <a:prstGeom prst="rect">
                <a:avLst/>
              </a:prstGeom>
              <a:noFill/>
              <a:ln w="19050">
                <a:solidFill>
                  <a:schemeClr val="tx2"/>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9" name="Group 8"/>
              <p:cNvGrpSpPr/>
              <p:nvPr/>
            </p:nvGrpSpPr>
            <p:grpSpPr>
              <a:xfrm>
                <a:off x="636578" y="2587730"/>
                <a:ext cx="1698924" cy="1182240"/>
                <a:chOff x="934114" y="2805236"/>
                <a:chExt cx="1698924" cy="1182240"/>
              </a:xfrm>
            </p:grpSpPr>
            <p:sp>
              <p:nvSpPr>
                <p:cNvPr id="92" name="Rectangle 91"/>
                <p:cNvSpPr/>
                <p:nvPr/>
              </p:nvSpPr>
              <p:spPr>
                <a:xfrm>
                  <a:off x="934114" y="3793577"/>
                  <a:ext cx="1698924" cy="193899"/>
                </a:xfrm>
                <a:prstGeom prst="rect">
                  <a:avLst/>
                </a:prstGeom>
                <a:ln>
                  <a:noFill/>
                </a:ln>
              </p:spPr>
              <p:txBody>
                <a:bodyPr wrap="square" lIns="0" tIns="0" rIns="0" bIns="0" anchor="ctr">
                  <a:spAutoFit/>
                </a:bodyPr>
                <a:lstStyle/>
                <a:p>
                  <a:pPr algn="ctr" defTabSz="914099" fontAlgn="base">
                    <a:lnSpc>
                      <a:spcPct val="90000"/>
                    </a:lnSpc>
                    <a:spcBef>
                      <a:spcPct val="0"/>
                    </a:spcBef>
                    <a:spcAft>
                      <a:spcPct val="0"/>
                    </a:spcAft>
                    <a:buSzPct val="80000"/>
                  </a:pPr>
                  <a:r>
                    <a:rPr lang="en-US" sz="1400" spc="-50" dirty="0">
                      <a:solidFill>
                        <a:srgbClr val="00188F"/>
                      </a:solidFill>
                    </a:rPr>
                    <a:t>Active Directory</a:t>
                  </a:r>
                </a:p>
              </p:txBody>
            </p:sp>
            <p:pic>
              <p:nvPicPr>
                <p:cNvPr id="91" name="Picture 9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p:spPr>
            </p:pic>
          </p:grpSp>
        </p:grpSp>
        <p:pic>
          <p:nvPicPr>
            <p:cNvPr id="83" name="Picture 8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p:spPr>
        </p:pic>
      </p:grpSp>
    </p:spTree>
    <p:extLst>
      <p:ext uri="{BB962C8B-B14F-4D97-AF65-F5344CB8AC3E}">
        <p14:creationId xmlns:p14="http://schemas.microsoft.com/office/powerpoint/2010/main" val="30432981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50" fill="hold"/>
                                        <p:tgtEl>
                                          <p:spTgt spid="18"/>
                                        </p:tgtEl>
                                        <p:attrNameLst>
                                          <p:attrName>ppt_w</p:attrName>
                                        </p:attrNameLst>
                                      </p:cBhvr>
                                      <p:tavLst>
                                        <p:tav tm="0">
                                          <p:val>
                                            <p:fltVal val="0"/>
                                          </p:val>
                                        </p:tav>
                                        <p:tav tm="100000">
                                          <p:val>
                                            <p:strVal val="#ppt_w"/>
                                          </p:val>
                                        </p:tav>
                                      </p:tavLst>
                                    </p:anim>
                                    <p:anim calcmode="lin" valueType="num">
                                      <p:cBhvr>
                                        <p:cTn id="8" dur="250" fill="hold"/>
                                        <p:tgtEl>
                                          <p:spTgt spid="18"/>
                                        </p:tgtEl>
                                        <p:attrNameLst>
                                          <p:attrName>ppt_h</p:attrName>
                                        </p:attrNameLst>
                                      </p:cBhvr>
                                      <p:tavLst>
                                        <p:tav tm="0">
                                          <p:val>
                                            <p:fltVal val="0"/>
                                          </p:val>
                                        </p:tav>
                                        <p:tav tm="100000">
                                          <p:val>
                                            <p:strVal val="#ppt_h"/>
                                          </p:val>
                                        </p:tav>
                                      </p:tavLst>
                                    </p:anim>
                                    <p:animEffect transition="in" filter="fade">
                                      <p:cBhvr>
                                        <p:cTn id="9" dur="250"/>
                                        <p:tgtEl>
                                          <p:spTgt spid="18"/>
                                        </p:tgtEl>
                                      </p:cBhvr>
                                    </p:animEffect>
                                  </p:childTnLst>
                                </p:cTn>
                              </p:par>
                              <p:par>
                                <p:cTn id="10" presetID="6" presetClass="emph" presetSubtype="0" decel="100000" fill="hold" nodeType="withEffect">
                                  <p:stCondLst>
                                    <p:cond delay="200"/>
                                  </p:stCondLst>
                                  <p:childTnLst>
                                    <p:animScale>
                                      <p:cBhvr>
                                        <p:cTn id="11" dur="250" fill="hold"/>
                                        <p:tgtEl>
                                          <p:spTgt spid="18"/>
                                        </p:tgtEl>
                                      </p:cBhvr>
                                      <p:by x="110000" y="110000"/>
                                    </p:animScale>
                                  </p:childTnLst>
                                </p:cTn>
                              </p:par>
                              <p:par>
                                <p:cTn id="12" presetID="6" presetClass="emph" presetSubtype="0" decel="100000" fill="hold" nodeType="withEffect">
                                  <p:stCondLst>
                                    <p:cond delay="300"/>
                                  </p:stCondLst>
                                  <p:childTnLst>
                                    <p:animScale>
                                      <p:cBhvr>
                                        <p:cTn id="13" dur="250" fill="hold"/>
                                        <p:tgtEl>
                                          <p:spTgt spid="18"/>
                                        </p:tgtEl>
                                      </p:cBhvr>
                                      <p:by x="91000" y="91000"/>
                                    </p:animScale>
                                  </p:childTnLst>
                                </p:cTn>
                              </p:par>
                            </p:childTnLst>
                          </p:cTn>
                        </p:par>
                      </p:childTnLst>
                    </p:cTn>
                  </p:par>
                  <p:par>
                    <p:cTn id="14" fill="hold">
                      <p:stCondLst>
                        <p:cond delay="indefinite"/>
                      </p:stCondLst>
                      <p:childTnLst>
                        <p:par>
                          <p:cTn id="15" fill="hold">
                            <p:stCondLst>
                              <p:cond delay="0"/>
                            </p:stCondLst>
                            <p:childTnLst>
                              <p:par>
                                <p:cTn id="16" presetID="53" presetClass="entr" presetSubtype="16" fill="hold" nodeType="click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250" fill="hold"/>
                                        <p:tgtEl>
                                          <p:spTgt spid="12"/>
                                        </p:tgtEl>
                                        <p:attrNameLst>
                                          <p:attrName>ppt_w</p:attrName>
                                        </p:attrNameLst>
                                      </p:cBhvr>
                                      <p:tavLst>
                                        <p:tav tm="0">
                                          <p:val>
                                            <p:fltVal val="0"/>
                                          </p:val>
                                        </p:tav>
                                        <p:tav tm="100000">
                                          <p:val>
                                            <p:strVal val="#ppt_w"/>
                                          </p:val>
                                        </p:tav>
                                      </p:tavLst>
                                    </p:anim>
                                    <p:anim calcmode="lin" valueType="num">
                                      <p:cBhvr>
                                        <p:cTn id="19" dur="250" fill="hold"/>
                                        <p:tgtEl>
                                          <p:spTgt spid="12"/>
                                        </p:tgtEl>
                                        <p:attrNameLst>
                                          <p:attrName>ppt_h</p:attrName>
                                        </p:attrNameLst>
                                      </p:cBhvr>
                                      <p:tavLst>
                                        <p:tav tm="0">
                                          <p:val>
                                            <p:fltVal val="0"/>
                                          </p:val>
                                        </p:tav>
                                        <p:tav tm="100000">
                                          <p:val>
                                            <p:strVal val="#ppt_h"/>
                                          </p:val>
                                        </p:tav>
                                      </p:tavLst>
                                    </p:anim>
                                    <p:animEffect transition="in" filter="fade">
                                      <p:cBhvr>
                                        <p:cTn id="20" dur="250"/>
                                        <p:tgtEl>
                                          <p:spTgt spid="12"/>
                                        </p:tgtEl>
                                      </p:cBhvr>
                                    </p:animEffect>
                                  </p:childTnLst>
                                </p:cTn>
                              </p:par>
                              <p:par>
                                <p:cTn id="21" presetID="6" presetClass="emph" presetSubtype="0" decel="100000" fill="hold" nodeType="withEffect">
                                  <p:stCondLst>
                                    <p:cond delay="200"/>
                                  </p:stCondLst>
                                  <p:childTnLst>
                                    <p:animScale>
                                      <p:cBhvr>
                                        <p:cTn id="22" dur="250" fill="hold"/>
                                        <p:tgtEl>
                                          <p:spTgt spid="12"/>
                                        </p:tgtEl>
                                      </p:cBhvr>
                                      <p:by x="110000" y="110000"/>
                                    </p:animScale>
                                  </p:childTnLst>
                                </p:cTn>
                              </p:par>
                              <p:par>
                                <p:cTn id="23" presetID="6" presetClass="emph" presetSubtype="0" decel="100000" fill="hold" nodeType="withEffect">
                                  <p:stCondLst>
                                    <p:cond delay="300"/>
                                  </p:stCondLst>
                                  <p:childTnLst>
                                    <p:animScale>
                                      <p:cBhvr>
                                        <p:cTn id="24" dur="250" fill="hold"/>
                                        <p:tgtEl>
                                          <p:spTgt spid="12"/>
                                        </p:tgtEl>
                                      </p:cBhvr>
                                      <p:by x="91000" y="91000"/>
                                    </p:animScale>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p:cTn id="29" dur="250" fill="hold"/>
                                        <p:tgtEl>
                                          <p:spTgt spid="29"/>
                                        </p:tgtEl>
                                        <p:attrNameLst>
                                          <p:attrName>ppt_w</p:attrName>
                                        </p:attrNameLst>
                                      </p:cBhvr>
                                      <p:tavLst>
                                        <p:tav tm="0">
                                          <p:val>
                                            <p:fltVal val="0"/>
                                          </p:val>
                                        </p:tav>
                                        <p:tav tm="100000">
                                          <p:val>
                                            <p:strVal val="#ppt_w"/>
                                          </p:val>
                                        </p:tav>
                                      </p:tavLst>
                                    </p:anim>
                                    <p:anim calcmode="lin" valueType="num">
                                      <p:cBhvr>
                                        <p:cTn id="30" dur="250" fill="hold"/>
                                        <p:tgtEl>
                                          <p:spTgt spid="29"/>
                                        </p:tgtEl>
                                        <p:attrNameLst>
                                          <p:attrName>ppt_h</p:attrName>
                                        </p:attrNameLst>
                                      </p:cBhvr>
                                      <p:tavLst>
                                        <p:tav tm="0">
                                          <p:val>
                                            <p:fltVal val="0"/>
                                          </p:val>
                                        </p:tav>
                                        <p:tav tm="100000">
                                          <p:val>
                                            <p:strVal val="#ppt_h"/>
                                          </p:val>
                                        </p:tav>
                                      </p:tavLst>
                                    </p:anim>
                                    <p:animEffect transition="in" filter="fade">
                                      <p:cBhvr>
                                        <p:cTn id="31" dur="250"/>
                                        <p:tgtEl>
                                          <p:spTgt spid="29"/>
                                        </p:tgtEl>
                                      </p:cBhvr>
                                    </p:animEffect>
                                  </p:childTnLst>
                                </p:cTn>
                              </p:par>
                              <p:par>
                                <p:cTn id="32" presetID="6" presetClass="emph" presetSubtype="0" decel="100000" fill="hold" nodeType="withEffect">
                                  <p:stCondLst>
                                    <p:cond delay="200"/>
                                  </p:stCondLst>
                                  <p:childTnLst>
                                    <p:animScale>
                                      <p:cBhvr>
                                        <p:cTn id="33" dur="250" fill="hold"/>
                                        <p:tgtEl>
                                          <p:spTgt spid="29"/>
                                        </p:tgtEl>
                                      </p:cBhvr>
                                      <p:by x="110000" y="110000"/>
                                    </p:animScale>
                                  </p:childTnLst>
                                </p:cTn>
                              </p:par>
                              <p:par>
                                <p:cTn id="34" presetID="6" presetClass="emph" presetSubtype="0" decel="100000" fill="hold" nodeType="withEffect">
                                  <p:stCondLst>
                                    <p:cond delay="300"/>
                                  </p:stCondLst>
                                  <p:childTnLst>
                                    <p:animScale>
                                      <p:cBhvr>
                                        <p:cTn id="35" dur="250" fill="hold"/>
                                        <p:tgtEl>
                                          <p:spTgt spid="29"/>
                                        </p:tgtEl>
                                      </p:cBhvr>
                                      <p:by x="91000" y="91000"/>
                                    </p:animScale>
                                  </p:childTnLst>
                                </p:cTn>
                              </p:par>
                            </p:childTnLst>
                          </p:cTn>
                        </p:par>
                      </p:childTnLst>
                    </p:cTn>
                  </p:par>
                  <p:par>
                    <p:cTn id="36" fill="hold">
                      <p:stCondLst>
                        <p:cond delay="indefinite"/>
                      </p:stCondLst>
                      <p:childTnLst>
                        <p:par>
                          <p:cTn id="37" fill="hold">
                            <p:stCondLst>
                              <p:cond delay="0"/>
                            </p:stCondLst>
                            <p:childTnLst>
                              <p:par>
                                <p:cTn id="38" presetID="53" presetClass="entr" presetSubtype="16"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 calcmode="lin" valueType="num">
                                      <p:cBhvr>
                                        <p:cTn id="40" dur="250" fill="hold"/>
                                        <p:tgtEl>
                                          <p:spTgt spid="13"/>
                                        </p:tgtEl>
                                        <p:attrNameLst>
                                          <p:attrName>ppt_w</p:attrName>
                                        </p:attrNameLst>
                                      </p:cBhvr>
                                      <p:tavLst>
                                        <p:tav tm="0">
                                          <p:val>
                                            <p:fltVal val="0"/>
                                          </p:val>
                                        </p:tav>
                                        <p:tav tm="100000">
                                          <p:val>
                                            <p:strVal val="#ppt_w"/>
                                          </p:val>
                                        </p:tav>
                                      </p:tavLst>
                                    </p:anim>
                                    <p:anim calcmode="lin" valueType="num">
                                      <p:cBhvr>
                                        <p:cTn id="41" dur="250" fill="hold"/>
                                        <p:tgtEl>
                                          <p:spTgt spid="13"/>
                                        </p:tgtEl>
                                        <p:attrNameLst>
                                          <p:attrName>ppt_h</p:attrName>
                                        </p:attrNameLst>
                                      </p:cBhvr>
                                      <p:tavLst>
                                        <p:tav tm="0">
                                          <p:val>
                                            <p:fltVal val="0"/>
                                          </p:val>
                                        </p:tav>
                                        <p:tav tm="100000">
                                          <p:val>
                                            <p:strVal val="#ppt_h"/>
                                          </p:val>
                                        </p:tav>
                                      </p:tavLst>
                                    </p:anim>
                                    <p:animEffect transition="in" filter="fade">
                                      <p:cBhvr>
                                        <p:cTn id="42" dur="250"/>
                                        <p:tgtEl>
                                          <p:spTgt spid="13"/>
                                        </p:tgtEl>
                                      </p:cBhvr>
                                    </p:animEffect>
                                  </p:childTnLst>
                                </p:cTn>
                              </p:par>
                              <p:par>
                                <p:cTn id="43" presetID="6" presetClass="emph" presetSubtype="0" decel="100000" fill="hold" nodeType="withEffect">
                                  <p:stCondLst>
                                    <p:cond delay="200"/>
                                  </p:stCondLst>
                                  <p:childTnLst>
                                    <p:animScale>
                                      <p:cBhvr>
                                        <p:cTn id="44" dur="250" fill="hold"/>
                                        <p:tgtEl>
                                          <p:spTgt spid="13"/>
                                        </p:tgtEl>
                                      </p:cBhvr>
                                      <p:by x="110000" y="110000"/>
                                    </p:animScale>
                                  </p:childTnLst>
                                </p:cTn>
                              </p:par>
                              <p:par>
                                <p:cTn id="45" presetID="6" presetClass="emph" presetSubtype="0" decel="100000" fill="hold" nodeType="withEffect">
                                  <p:stCondLst>
                                    <p:cond delay="300"/>
                                  </p:stCondLst>
                                  <p:childTnLst>
                                    <p:animScale>
                                      <p:cBhvr>
                                        <p:cTn id="46" dur="250" fill="hold"/>
                                        <p:tgtEl>
                                          <p:spTgt spid="13"/>
                                        </p:tgtEl>
                                      </p:cBhvr>
                                      <p:by x="91000" y="91000"/>
                                    </p:animScale>
                                  </p:childTnLst>
                                </p:cTn>
                              </p:par>
                            </p:childTnLst>
                          </p:cTn>
                        </p:par>
                      </p:childTnLst>
                    </p:cTn>
                  </p:par>
                  <p:par>
                    <p:cTn id="47" fill="hold">
                      <p:stCondLst>
                        <p:cond delay="indefinite"/>
                      </p:stCondLst>
                      <p:childTnLst>
                        <p:par>
                          <p:cTn id="48" fill="hold">
                            <p:stCondLst>
                              <p:cond delay="0"/>
                            </p:stCondLst>
                            <p:childTnLst>
                              <p:par>
                                <p:cTn id="49" presetID="53" presetClass="entr" presetSubtype="16"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p:cTn id="51" dur="250" fill="hold"/>
                                        <p:tgtEl>
                                          <p:spTgt spid="5"/>
                                        </p:tgtEl>
                                        <p:attrNameLst>
                                          <p:attrName>ppt_w</p:attrName>
                                        </p:attrNameLst>
                                      </p:cBhvr>
                                      <p:tavLst>
                                        <p:tav tm="0">
                                          <p:val>
                                            <p:fltVal val="0"/>
                                          </p:val>
                                        </p:tav>
                                        <p:tav tm="100000">
                                          <p:val>
                                            <p:strVal val="#ppt_w"/>
                                          </p:val>
                                        </p:tav>
                                      </p:tavLst>
                                    </p:anim>
                                    <p:anim calcmode="lin" valueType="num">
                                      <p:cBhvr>
                                        <p:cTn id="52" dur="250" fill="hold"/>
                                        <p:tgtEl>
                                          <p:spTgt spid="5"/>
                                        </p:tgtEl>
                                        <p:attrNameLst>
                                          <p:attrName>ppt_h</p:attrName>
                                        </p:attrNameLst>
                                      </p:cBhvr>
                                      <p:tavLst>
                                        <p:tav tm="0">
                                          <p:val>
                                            <p:fltVal val="0"/>
                                          </p:val>
                                        </p:tav>
                                        <p:tav tm="100000">
                                          <p:val>
                                            <p:strVal val="#ppt_h"/>
                                          </p:val>
                                        </p:tav>
                                      </p:tavLst>
                                    </p:anim>
                                    <p:animEffect transition="in" filter="fade">
                                      <p:cBhvr>
                                        <p:cTn id="53" dur="250"/>
                                        <p:tgtEl>
                                          <p:spTgt spid="5"/>
                                        </p:tgtEl>
                                      </p:cBhvr>
                                    </p:animEffect>
                                  </p:childTnLst>
                                </p:cTn>
                              </p:par>
                              <p:par>
                                <p:cTn id="54" presetID="6" presetClass="emph" presetSubtype="0" decel="100000" fill="hold" nodeType="withEffect">
                                  <p:stCondLst>
                                    <p:cond delay="200"/>
                                  </p:stCondLst>
                                  <p:childTnLst>
                                    <p:animScale>
                                      <p:cBhvr>
                                        <p:cTn id="55" dur="250" fill="hold"/>
                                        <p:tgtEl>
                                          <p:spTgt spid="5"/>
                                        </p:tgtEl>
                                      </p:cBhvr>
                                      <p:by x="110000" y="110000"/>
                                    </p:animScale>
                                  </p:childTnLst>
                                </p:cTn>
                              </p:par>
                              <p:par>
                                <p:cTn id="56" presetID="6" presetClass="emph" presetSubtype="0" decel="100000" fill="hold" nodeType="withEffect">
                                  <p:stCondLst>
                                    <p:cond delay="300"/>
                                  </p:stCondLst>
                                  <p:childTnLst>
                                    <p:animScale>
                                      <p:cBhvr>
                                        <p:cTn id="57" dur="250" fill="hold"/>
                                        <p:tgtEl>
                                          <p:spTgt spid="5"/>
                                        </p:tgtEl>
                                      </p:cBhvr>
                                      <p:by x="91000" y="91000"/>
                                    </p:animScale>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500"/>
                                  </p:stCondLst>
                                  <p:childTnLst>
                                    <p:set>
                                      <p:cBhvr>
                                        <p:cTn id="61" dur="1" fill="hold">
                                          <p:stCondLst>
                                            <p:cond delay="0"/>
                                          </p:stCondLst>
                                        </p:cTn>
                                        <p:tgtEl>
                                          <p:spTgt spid="190"/>
                                        </p:tgtEl>
                                        <p:attrNameLst>
                                          <p:attrName>style.visibility</p:attrName>
                                        </p:attrNameLst>
                                      </p:cBhvr>
                                      <p:to>
                                        <p:strVal val="visible"/>
                                      </p:to>
                                    </p:set>
                                    <p:animEffect transition="in" filter="wipe(left)">
                                      <p:cBhvr>
                                        <p:cTn id="62" dur="500"/>
                                        <p:tgtEl>
                                          <p:spTgt spid="190"/>
                                        </p:tgtEl>
                                      </p:cBhvr>
                                    </p:animEffect>
                                  </p:childTnLst>
                                </p:cTn>
                              </p:par>
                              <p:par>
                                <p:cTn id="63" presetID="10" presetClass="entr" presetSubtype="0" fill="hold" nodeType="withEffect">
                                  <p:stCondLst>
                                    <p:cond delay="1000"/>
                                  </p:stCondLst>
                                  <p:childTnLst>
                                    <p:set>
                                      <p:cBhvr>
                                        <p:cTn id="64" dur="1" fill="hold">
                                          <p:stCondLst>
                                            <p:cond delay="0"/>
                                          </p:stCondLst>
                                        </p:cTn>
                                        <p:tgtEl>
                                          <p:spTgt spid="175"/>
                                        </p:tgtEl>
                                        <p:attrNameLst>
                                          <p:attrName>style.visibility</p:attrName>
                                        </p:attrNameLst>
                                      </p:cBhvr>
                                      <p:to>
                                        <p:strVal val="visible"/>
                                      </p:to>
                                    </p:set>
                                    <p:animEffect transition="in" filter="fade">
                                      <p:cBhvr>
                                        <p:cTn id="65" dur="500"/>
                                        <p:tgtEl>
                                          <p:spTgt spid="175"/>
                                        </p:tgtEl>
                                      </p:cBhvr>
                                    </p:animEffect>
                                  </p:childTnLst>
                                </p:cTn>
                              </p:par>
                              <p:par>
                                <p:cTn id="66" presetID="8" presetClass="emph" presetSubtype="0" fill="hold" nodeType="withEffect">
                                  <p:stCondLst>
                                    <p:cond delay="1000"/>
                                  </p:stCondLst>
                                  <p:childTnLst>
                                    <p:animRot by="21600000">
                                      <p:cBhvr>
                                        <p:cTn id="67" dur="1500" fill="hold"/>
                                        <p:tgtEl>
                                          <p:spTgt spid="175"/>
                                        </p:tgtEl>
                                        <p:attrNameLst>
                                          <p:attrName>r</p:attrName>
                                        </p:attrNameLst>
                                      </p:cBhvr>
                                    </p:animRo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79"/>
                                        </p:tgtEl>
                                        <p:attrNameLst>
                                          <p:attrName>style.visibility</p:attrName>
                                        </p:attrNameLst>
                                      </p:cBhvr>
                                      <p:to>
                                        <p:strVal val="visible"/>
                                      </p:to>
                                    </p:set>
                                    <p:animEffect transition="in" filter="fade">
                                      <p:cBhvr>
                                        <p:cTn id="72" dur="500"/>
                                        <p:tgtEl>
                                          <p:spTgt spid="79"/>
                                        </p:tgtEl>
                                      </p:cBhvr>
                                    </p:animEffect>
                                  </p:childTnLst>
                                </p:cTn>
                              </p:par>
                            </p:childTnLst>
                          </p:cTn>
                        </p:par>
                        <p:par>
                          <p:cTn id="73" fill="hold">
                            <p:stCondLst>
                              <p:cond delay="500"/>
                            </p:stCondLst>
                            <p:childTnLst>
                              <p:par>
                                <p:cTn id="74" presetID="22" presetClass="entr" presetSubtype="2" fill="hold" grpId="0" nodeType="afterEffect">
                                  <p:stCondLst>
                                    <p:cond delay="0"/>
                                  </p:stCondLst>
                                  <p:childTnLst>
                                    <p:set>
                                      <p:cBhvr>
                                        <p:cTn id="75" dur="1" fill="hold">
                                          <p:stCondLst>
                                            <p:cond delay="0"/>
                                          </p:stCondLst>
                                        </p:cTn>
                                        <p:tgtEl>
                                          <p:spTgt spid="80"/>
                                        </p:tgtEl>
                                        <p:attrNameLst>
                                          <p:attrName>style.visibility</p:attrName>
                                        </p:attrNameLst>
                                      </p:cBhvr>
                                      <p:to>
                                        <p:strVal val="visible"/>
                                      </p:to>
                                    </p:set>
                                    <p:animEffect transition="in" filter="wipe(right)">
                                      <p:cBhvr>
                                        <p:cTn id="76" dur="1250"/>
                                        <p:tgtEl>
                                          <p:spTgt spid="80"/>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85"/>
                                        </p:tgtEl>
                                        <p:attrNameLst>
                                          <p:attrName>style.visibility</p:attrName>
                                        </p:attrNameLst>
                                      </p:cBhvr>
                                      <p:to>
                                        <p:strVal val="visible"/>
                                      </p:to>
                                    </p:set>
                                    <p:animEffect transition="in" filter="wipe(left)">
                                      <p:cBhvr>
                                        <p:cTn id="79" dur="1250"/>
                                        <p:tgtEl>
                                          <p:spTgt spid="85"/>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4" fill="hold" grpId="0" nodeType="clickEffect">
                                  <p:stCondLst>
                                    <p:cond delay="0"/>
                                  </p:stCondLst>
                                  <p:childTnLst>
                                    <p:set>
                                      <p:cBhvr>
                                        <p:cTn id="83" dur="1" fill="hold">
                                          <p:stCondLst>
                                            <p:cond delay="0"/>
                                          </p:stCondLst>
                                        </p:cTn>
                                        <p:tgtEl>
                                          <p:spTgt spid="7"/>
                                        </p:tgtEl>
                                        <p:attrNameLst>
                                          <p:attrName>style.visibility</p:attrName>
                                        </p:attrNameLst>
                                      </p:cBhvr>
                                      <p:to>
                                        <p:strVal val="visible"/>
                                      </p:to>
                                    </p:set>
                                    <p:animEffect transition="in" filter="wipe(down)">
                                      <p:cBhvr>
                                        <p:cTn id="8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animBg="1"/>
      <p:bldP spid="79" grpId="0" animBg="1"/>
      <p:bldP spid="80" grpId="0" animBg="1"/>
      <p:bldP spid="85"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846638" y="1211263"/>
            <a:ext cx="7315200" cy="5078313"/>
          </a:xfrm>
        </p:spPr>
        <p:txBody>
          <a:bodyPr/>
          <a:lstStyle/>
          <a:p>
            <a:pPr marL="0" indent="0">
              <a:spcBef>
                <a:spcPts val="0"/>
              </a:spcBef>
              <a:spcAft>
                <a:spcPts val="1800"/>
              </a:spcAft>
              <a:buNone/>
            </a:pPr>
            <a:r>
              <a:rPr lang="en-US" sz="3200" dirty="0">
                <a:gradFill>
                  <a:gsLst>
                    <a:gs pos="6195">
                      <a:schemeClr val="bg1"/>
                    </a:gs>
                    <a:gs pos="100000">
                      <a:schemeClr val="bg1"/>
                    </a:gs>
                  </a:gsLst>
                  <a:lin ang="5400000" scaled="0"/>
                </a:gradFill>
                <a:latin typeface="+mj-lt"/>
              </a:rPr>
              <a:t>A </a:t>
            </a:r>
            <a:r>
              <a:rPr lang="en-US" sz="3200" dirty="0">
                <a:solidFill>
                  <a:schemeClr val="bg1"/>
                </a:solidFill>
                <a:latin typeface="+mj-lt"/>
              </a:rPr>
              <a:t>comprehensive</a:t>
            </a:r>
            <a:r>
              <a:rPr lang="en-US" sz="3200" dirty="0">
                <a:gradFill>
                  <a:gsLst>
                    <a:gs pos="6195">
                      <a:schemeClr val="bg1"/>
                    </a:gs>
                    <a:gs pos="100000">
                      <a:schemeClr val="bg1"/>
                    </a:gs>
                  </a:gsLst>
                  <a:lin ang="5400000" scaled="0"/>
                </a:gradFill>
                <a:latin typeface="+mj-lt"/>
              </a:rPr>
              <a:t> identity and access management cloud solution.  </a:t>
            </a:r>
          </a:p>
          <a:p>
            <a:pPr marL="0" indent="0">
              <a:spcBef>
                <a:spcPts val="0"/>
              </a:spcBef>
              <a:spcAft>
                <a:spcPts val="1800"/>
              </a:spcAft>
              <a:buNone/>
            </a:pPr>
            <a:r>
              <a:rPr lang="en-US" sz="3200" dirty="0">
                <a:gradFill>
                  <a:gsLst>
                    <a:gs pos="6195">
                      <a:schemeClr val="bg1"/>
                    </a:gs>
                    <a:gs pos="100000">
                      <a:schemeClr val="bg1"/>
                    </a:gs>
                  </a:gsLst>
                  <a:lin ang="5400000" scaled="0"/>
                </a:gradFill>
                <a:latin typeface="+mj-lt"/>
              </a:rPr>
              <a:t>It combines </a:t>
            </a:r>
            <a:r>
              <a:rPr lang="en-US" sz="3200" dirty="0" smtClean="0">
                <a:gradFill>
                  <a:gsLst>
                    <a:gs pos="6195">
                      <a:schemeClr val="bg1"/>
                    </a:gs>
                    <a:gs pos="100000">
                      <a:schemeClr val="bg1"/>
                    </a:gs>
                  </a:gsLst>
                  <a:lin ang="5400000" scaled="0"/>
                </a:gradFill>
                <a:latin typeface="+mj-lt"/>
              </a:rPr>
              <a:t>directory </a:t>
            </a:r>
            <a:r>
              <a:rPr lang="en-US" sz="3200" dirty="0">
                <a:gradFill>
                  <a:gsLst>
                    <a:gs pos="6195">
                      <a:schemeClr val="bg1"/>
                    </a:gs>
                    <a:gs pos="100000">
                      <a:schemeClr val="bg1"/>
                    </a:gs>
                  </a:gsLst>
                  <a:lin ang="5400000" scaled="0"/>
                </a:gradFill>
                <a:latin typeface="+mj-lt"/>
              </a:rPr>
              <a:t>services, advanced identity governance, application access management and a </a:t>
            </a:r>
            <a:r>
              <a:rPr lang="en-US" sz="3200" dirty="0" smtClean="0">
                <a:gradFill>
                  <a:gsLst>
                    <a:gs pos="6195">
                      <a:schemeClr val="bg1"/>
                    </a:gs>
                    <a:gs pos="100000">
                      <a:schemeClr val="bg1"/>
                    </a:gs>
                  </a:gsLst>
                  <a:lin ang="5400000" scaled="0"/>
                </a:gradFill>
                <a:latin typeface="+mj-lt"/>
              </a:rPr>
              <a:t>rich </a:t>
            </a:r>
            <a:r>
              <a:rPr lang="en-US" sz="3200" dirty="0">
                <a:gradFill>
                  <a:gsLst>
                    <a:gs pos="6195">
                      <a:schemeClr val="bg1"/>
                    </a:gs>
                    <a:gs pos="100000">
                      <a:schemeClr val="bg1"/>
                    </a:gs>
                  </a:gsLst>
                  <a:lin ang="5400000" scaled="0"/>
                </a:gradFill>
                <a:latin typeface="+mj-lt"/>
              </a:rPr>
              <a:t>standards-based platform </a:t>
            </a:r>
            <a:r>
              <a:rPr lang="en-US" sz="3200" dirty="0" smtClean="0">
                <a:gradFill>
                  <a:gsLst>
                    <a:gs pos="6195">
                      <a:schemeClr val="bg1"/>
                    </a:gs>
                    <a:gs pos="100000">
                      <a:schemeClr val="bg1"/>
                    </a:gs>
                  </a:gsLst>
                  <a:lin ang="5400000" scaled="0"/>
                </a:gradFill>
                <a:latin typeface="+mj-lt"/>
              </a:rPr>
              <a:t>for developers</a:t>
            </a:r>
          </a:p>
          <a:p>
            <a:pPr marL="0" indent="0">
              <a:spcBef>
                <a:spcPts val="0"/>
              </a:spcBef>
              <a:spcAft>
                <a:spcPts val="1800"/>
              </a:spcAft>
              <a:buNone/>
            </a:pPr>
            <a:r>
              <a:rPr lang="en-US" sz="3200" b="1" dirty="0" smtClean="0">
                <a:gradFill>
                  <a:gsLst>
                    <a:gs pos="6195">
                      <a:schemeClr val="bg2"/>
                    </a:gs>
                    <a:gs pos="100000">
                      <a:schemeClr val="bg2"/>
                    </a:gs>
                  </a:gsLst>
                  <a:lin ang="5400000" scaled="0"/>
                </a:gradFill>
                <a:latin typeface="+mj-lt"/>
              </a:rPr>
              <a:t>Azure Active Directory Premium is an advanced offering that includes IAM capabilities for on-premises, hybrid and cloud environments</a:t>
            </a:r>
            <a:endParaRPr lang="en-US" sz="3200" b="1" dirty="0">
              <a:gradFill>
                <a:gsLst>
                  <a:gs pos="6195">
                    <a:schemeClr val="bg2"/>
                  </a:gs>
                  <a:gs pos="100000">
                    <a:schemeClr val="bg2"/>
                  </a:gs>
                </a:gsLst>
                <a:lin ang="5400000" scaled="0"/>
              </a:gradFill>
              <a:latin typeface="+mj-lt"/>
            </a:endParaRPr>
          </a:p>
        </p:txBody>
      </p:sp>
      <p:sp>
        <p:nvSpPr>
          <p:cNvPr id="2" name="Rectangle 1"/>
          <p:cNvSpPr/>
          <p:nvPr/>
        </p:nvSpPr>
        <p:spPr bwMode="auto">
          <a:xfrm>
            <a:off x="0" y="0"/>
            <a:ext cx="4890157" cy="6994525"/>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5" name="Freeform 128"/>
          <p:cNvSpPr>
            <a:spLocks noChangeAspect="1"/>
          </p:cNvSpPr>
          <p:nvPr/>
        </p:nvSpPr>
        <p:spPr bwMode="black">
          <a:xfrm>
            <a:off x="4860293" y="1784366"/>
            <a:ext cx="4191281"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 name="Freeform 128"/>
          <p:cNvSpPr>
            <a:spLocks noChangeAspect="1"/>
          </p:cNvSpPr>
          <p:nvPr/>
        </p:nvSpPr>
        <p:spPr bwMode="black">
          <a:xfrm>
            <a:off x="3384901" y="1939015"/>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w="38100">
            <a:solidFill>
              <a:schemeClr val="tx1"/>
            </a:solid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pic>
        <p:nvPicPr>
          <p:cNvPr id="14" name="Picture 13" descr="Windows Azure Active Directory"/>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1894040" y="3123513"/>
            <a:ext cx="1534831" cy="1534831"/>
          </a:xfrm>
          <a:prstGeom prst="rect">
            <a:avLst/>
          </a:prstGeom>
          <a:noFill/>
          <a:ln>
            <a:noFill/>
          </a:ln>
        </p:spPr>
      </p:pic>
      <p:sp>
        <p:nvSpPr>
          <p:cNvPr id="5" name="Title 4"/>
          <p:cNvSpPr>
            <a:spLocks noGrp="1"/>
          </p:cNvSpPr>
          <p:nvPr>
            <p:ph type="title"/>
          </p:nvPr>
        </p:nvSpPr>
        <p:spPr/>
        <p:txBody>
          <a:bodyPr/>
          <a:lstStyle/>
          <a:p>
            <a:r>
              <a:rPr lang="en-US" sz="4000" dirty="0" smtClean="0">
                <a:gradFill>
                  <a:gsLst>
                    <a:gs pos="6195">
                      <a:schemeClr val="bg2"/>
                    </a:gs>
                    <a:gs pos="100000">
                      <a:schemeClr val="bg2"/>
                    </a:gs>
                  </a:gsLst>
                  <a:lin ang="5400000" scaled="0"/>
                </a:gradFill>
              </a:rPr>
              <a:t>What is Azure Active </a:t>
            </a:r>
            <a:r>
              <a:rPr lang="en-US" sz="4000" dirty="0">
                <a:gradFill>
                  <a:gsLst>
                    <a:gs pos="6195">
                      <a:schemeClr val="bg2"/>
                    </a:gs>
                    <a:gs pos="100000">
                      <a:schemeClr val="bg2"/>
                    </a:gs>
                  </a:gsLst>
                  <a:lin ang="5400000" scaled="0"/>
                </a:gradFill>
              </a:rPr>
              <a:t>D</a:t>
            </a:r>
            <a:r>
              <a:rPr lang="en-US" sz="4000" dirty="0" smtClean="0">
                <a:gradFill>
                  <a:gsLst>
                    <a:gs pos="6195">
                      <a:schemeClr val="bg2"/>
                    </a:gs>
                    <a:gs pos="100000">
                      <a:schemeClr val="bg2"/>
                    </a:gs>
                  </a:gsLst>
                  <a:lin ang="5400000" scaled="0"/>
                </a:gradFill>
              </a:rPr>
              <a:t>irectory?</a:t>
            </a:r>
            <a:endParaRPr lang="en-US" sz="4000" dirty="0">
              <a:gradFill>
                <a:gsLst>
                  <a:gs pos="6195">
                    <a:schemeClr val="bg2"/>
                  </a:gs>
                  <a:gs pos="100000">
                    <a:schemeClr val="bg2"/>
                  </a:gs>
                </a:gsLst>
                <a:lin ang="5400000" scaled="0"/>
              </a:gradFill>
            </a:endParaRPr>
          </a:p>
        </p:txBody>
      </p:sp>
    </p:spTree>
    <p:extLst>
      <p:ext uri="{BB962C8B-B14F-4D97-AF65-F5344CB8AC3E}">
        <p14:creationId xmlns:p14="http://schemas.microsoft.com/office/powerpoint/2010/main" val="2133601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grpId="0" nodeType="withEffect">
                                  <p:stCondLst>
                                    <p:cond delay="0"/>
                                  </p:stCondLst>
                                  <p:childTnLst>
                                    <p:animScale>
                                      <p:cBhvr>
                                        <p:cTn id="6" dur="700" fill="hold"/>
                                        <p:tgtEl>
                                          <p:spTgt spid="16"/>
                                        </p:tgtEl>
                                      </p:cBhvr>
                                      <p:by x="85000" y="85000"/>
                                    </p:animScale>
                                  </p:childTnLst>
                                </p:cTn>
                              </p:par>
                              <p:par>
                                <p:cTn id="7" presetID="42" presetClass="path" presetSubtype="0" decel="100000" fill="hold" grpId="1" nodeType="withEffect">
                                  <p:stCondLst>
                                    <p:cond delay="0"/>
                                  </p:stCondLst>
                                  <p:childTnLst>
                                    <p:animMotion origin="layout" path="M 1.89175E-6 1.69768E-6 L -0.21381 0.10917 " pathEditMode="relative" rAng="0" ptsTypes="AA">
                                      <p:cBhvr>
                                        <p:cTn id="8" dur="700" fill="hold"/>
                                        <p:tgtEl>
                                          <p:spTgt spid="16"/>
                                        </p:tgtEl>
                                        <p:attrNameLst>
                                          <p:attrName>ppt_x</p:attrName>
                                          <p:attrName>ppt_y</p:attrName>
                                        </p:attrNameLst>
                                      </p:cBhvr>
                                      <p:rCtr x="-10684" y="5561"/>
                                    </p:animMotion>
                                  </p:childTnLst>
                                </p:cTn>
                              </p:par>
                              <p:par>
                                <p:cTn id="9" presetID="6" presetClass="emph" presetSubtype="0" decel="100000" fill="hold" grpId="0" nodeType="withEffect">
                                  <p:stCondLst>
                                    <p:cond delay="0"/>
                                  </p:stCondLst>
                                  <p:childTnLst>
                                    <p:animScale>
                                      <p:cBhvr>
                                        <p:cTn id="10" dur="700" fill="hold"/>
                                        <p:tgtEl>
                                          <p:spTgt spid="15"/>
                                        </p:tgtEl>
                                      </p:cBhvr>
                                      <p:by x="85000" y="85000"/>
                                    </p:animScale>
                                  </p:childTnLst>
                                </p:cTn>
                              </p:par>
                              <p:par>
                                <p:cTn id="11" presetID="42" presetClass="path" presetSubtype="0" decel="100000" fill="hold" grpId="1" nodeType="withEffect">
                                  <p:stCondLst>
                                    <p:cond delay="0"/>
                                  </p:stCondLst>
                                  <p:childTnLst>
                                    <p:animMotion origin="layout" path="M 3.3495E-6 -2.86882E-6 L -0.3841 0.0261 " pathEditMode="relative" rAng="0" ptsTypes="AA">
                                      <p:cBhvr>
                                        <p:cTn id="12" dur="700" fill="hold"/>
                                        <p:tgtEl>
                                          <p:spTgt spid="15"/>
                                        </p:tgtEl>
                                        <p:attrNameLst>
                                          <p:attrName>ppt_x</p:attrName>
                                          <p:attrName>ppt_y</p:attrName>
                                        </p:attrNameLst>
                                      </p:cBhvr>
                                      <p:rCtr x="-19211" y="1294"/>
                                    </p:animMotion>
                                  </p:childTnLst>
                                </p:cTn>
                              </p:par>
                            </p:childTnLst>
                          </p:cTn>
                        </p:par>
                        <p:par>
                          <p:cTn id="13" fill="hold">
                            <p:stCondLst>
                              <p:cond delay="700"/>
                            </p:stCondLst>
                            <p:childTnLst>
                              <p:par>
                                <p:cTn id="14" presetID="53" presetClass="entr" presetSubtype="16" fill="hold"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250" fill="hold"/>
                                        <p:tgtEl>
                                          <p:spTgt spid="14"/>
                                        </p:tgtEl>
                                        <p:attrNameLst>
                                          <p:attrName>ppt_w</p:attrName>
                                        </p:attrNameLst>
                                      </p:cBhvr>
                                      <p:tavLst>
                                        <p:tav tm="0">
                                          <p:val>
                                            <p:fltVal val="0"/>
                                          </p:val>
                                        </p:tav>
                                        <p:tav tm="100000">
                                          <p:val>
                                            <p:strVal val="#ppt_w"/>
                                          </p:val>
                                        </p:tav>
                                      </p:tavLst>
                                    </p:anim>
                                    <p:anim calcmode="lin" valueType="num">
                                      <p:cBhvr>
                                        <p:cTn id="17" dur="250" fill="hold"/>
                                        <p:tgtEl>
                                          <p:spTgt spid="14"/>
                                        </p:tgtEl>
                                        <p:attrNameLst>
                                          <p:attrName>ppt_h</p:attrName>
                                        </p:attrNameLst>
                                      </p:cBhvr>
                                      <p:tavLst>
                                        <p:tav tm="0">
                                          <p:val>
                                            <p:fltVal val="0"/>
                                          </p:val>
                                        </p:tav>
                                        <p:tav tm="100000">
                                          <p:val>
                                            <p:strVal val="#ppt_h"/>
                                          </p:val>
                                        </p:tav>
                                      </p:tavLst>
                                    </p:anim>
                                    <p:animEffect transition="in" filter="fade">
                                      <p:cBhvr>
                                        <p:cTn id="18" dur="250"/>
                                        <p:tgtEl>
                                          <p:spTgt spid="14"/>
                                        </p:tgtEl>
                                      </p:cBhvr>
                                    </p:animEffect>
                                  </p:childTnLst>
                                </p:cTn>
                              </p:par>
                              <p:par>
                                <p:cTn id="19" presetID="6" presetClass="emph" presetSubtype="0" decel="100000" fill="hold" nodeType="withEffect">
                                  <p:stCondLst>
                                    <p:cond delay="200"/>
                                  </p:stCondLst>
                                  <p:childTnLst>
                                    <p:animScale>
                                      <p:cBhvr>
                                        <p:cTn id="20" dur="250" fill="hold"/>
                                        <p:tgtEl>
                                          <p:spTgt spid="14"/>
                                        </p:tgtEl>
                                      </p:cBhvr>
                                      <p:by x="110000" y="110000"/>
                                    </p:animScale>
                                  </p:childTnLst>
                                </p:cTn>
                              </p:par>
                              <p:par>
                                <p:cTn id="21" presetID="6" presetClass="emph" presetSubtype="0" decel="100000" fill="hold" nodeType="withEffect">
                                  <p:stCondLst>
                                    <p:cond delay="300"/>
                                  </p:stCondLst>
                                  <p:childTnLst>
                                    <p:animScale>
                                      <p:cBhvr>
                                        <p:cTn id="22" dur="250" fill="hold"/>
                                        <p:tgtEl>
                                          <p:spTgt spid="14"/>
                                        </p:tgtEl>
                                      </p:cBhvr>
                                      <p:by x="91000" y="91000"/>
                                    </p:animScale>
                                  </p:childTnLst>
                                </p:cTn>
                              </p:par>
                            </p:childTnLst>
                          </p:cTn>
                        </p:par>
                      </p:childTnLst>
                    </p:cTn>
                  </p:par>
                  <p:par>
                    <p:cTn id="23" fill="hold">
                      <p:stCondLst>
                        <p:cond delay="indefinite"/>
                      </p:stCondLst>
                      <p:childTnLst>
                        <p:par>
                          <p:cTn id="24" fill="hold">
                            <p:stCondLst>
                              <p:cond delay="0"/>
                            </p:stCondLst>
                            <p:childTnLst>
                              <p:par>
                                <p:cTn id="25" presetID="2" presetClass="entr" presetSubtype="8" decel="10000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 calcmode="lin" valueType="num">
                                      <p:cBhvr additive="base">
                                        <p:cTn id="27"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28" dur="9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0" nodeType="click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anim calcmode="lin" valueType="num">
                                      <p:cBhvr additive="base">
                                        <p:cTn id="33"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4" dur="9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decel="100000" fill="hold" grpId="0" nodeType="clickEffect">
                                  <p:stCondLst>
                                    <p:cond delay="0"/>
                                  </p:stCondLst>
                                  <p:childTnLst>
                                    <p:set>
                                      <p:cBhvr>
                                        <p:cTn id="38" dur="1" fill="hold">
                                          <p:stCondLst>
                                            <p:cond delay="0"/>
                                          </p:stCondLst>
                                        </p:cTn>
                                        <p:tgtEl>
                                          <p:spTgt spid="6">
                                            <p:txEl>
                                              <p:pRg st="2" end="2"/>
                                            </p:txEl>
                                          </p:spTgt>
                                        </p:tgtEl>
                                        <p:attrNameLst>
                                          <p:attrName>style.visibility</p:attrName>
                                        </p:attrNameLst>
                                      </p:cBhvr>
                                      <p:to>
                                        <p:strVal val="visible"/>
                                      </p:to>
                                    </p:set>
                                    <p:anim calcmode="lin" valueType="num">
                                      <p:cBhvr additive="base">
                                        <p:cTn id="39"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0"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5" grpId="0" animBg="1"/>
      <p:bldP spid="15" grpId="1" animBg="1"/>
      <p:bldP spid="16" grpId="0" animBg="1"/>
      <p:bldP spid="16"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45763" y="1836926"/>
            <a:ext cx="7208162" cy="4090351"/>
          </a:xfrm>
          <a:prstGeom prst="rect">
            <a:avLst/>
          </a:prstGeom>
        </p:spPr>
        <p:txBody>
          <a:bodyPr wrap="square" lIns="182880" tIns="146304" rIns="182880" bIns="146304">
            <a:spAutoFit/>
          </a:bodyPr>
          <a:lstStyle/>
          <a:p>
            <a:pPr defTabSz="932503">
              <a:lnSpc>
                <a:spcPct val="90000"/>
              </a:lnSpc>
              <a:spcAft>
                <a:spcPts val="1800"/>
              </a:spcAft>
            </a:pPr>
            <a:r>
              <a:rPr lang="en-US" sz="2800" dirty="0">
                <a:solidFill>
                  <a:srgbClr val="505050"/>
                </a:solidFill>
                <a:latin typeface="Segoe UI Light"/>
              </a:rPr>
              <a:t>Built on top of the free </a:t>
            </a:r>
            <a:r>
              <a:rPr lang="en-US" sz="2800" dirty="0" smtClean="0">
                <a:solidFill>
                  <a:srgbClr val="505050"/>
                </a:solidFill>
                <a:latin typeface="Segoe UI Light"/>
              </a:rPr>
              <a:t>offering, provides </a:t>
            </a:r>
            <a:r>
              <a:rPr lang="en-US" sz="2800" b="1" dirty="0">
                <a:solidFill>
                  <a:srgbClr val="505050"/>
                </a:solidFill>
                <a:latin typeface="Segoe UI Light"/>
              </a:rPr>
              <a:t>a robust set </a:t>
            </a:r>
            <a:r>
              <a:rPr lang="en-US" sz="2800" dirty="0">
                <a:solidFill>
                  <a:srgbClr val="505050"/>
                </a:solidFill>
                <a:latin typeface="Segoe UI Light"/>
              </a:rPr>
              <a:t>of capabilities </a:t>
            </a:r>
            <a:r>
              <a:rPr lang="en-US" sz="2800" dirty="0" smtClean="0">
                <a:solidFill>
                  <a:srgbClr val="505050"/>
                </a:solidFill>
                <a:latin typeface="Segoe UI Light"/>
              </a:rPr>
              <a:t>to </a:t>
            </a:r>
            <a:r>
              <a:rPr lang="en-US" sz="2800" b="1" dirty="0">
                <a:solidFill>
                  <a:srgbClr val="505050"/>
                </a:solidFill>
                <a:latin typeface="Segoe UI Light"/>
              </a:rPr>
              <a:t>empower enterprises </a:t>
            </a:r>
            <a:r>
              <a:rPr lang="en-US" sz="2800" dirty="0">
                <a:solidFill>
                  <a:srgbClr val="505050"/>
                </a:solidFill>
                <a:latin typeface="Segoe UI Light"/>
              </a:rPr>
              <a:t>with </a:t>
            </a:r>
            <a:r>
              <a:rPr lang="en-US" sz="2800" dirty="0" smtClean="0">
                <a:solidFill>
                  <a:srgbClr val="505050"/>
                </a:solidFill>
                <a:latin typeface="Segoe UI Light"/>
              </a:rPr>
              <a:t>demanding </a:t>
            </a:r>
            <a:r>
              <a:rPr lang="en-US" sz="2800" dirty="0">
                <a:solidFill>
                  <a:srgbClr val="505050"/>
                </a:solidFill>
                <a:latin typeface="Segoe UI Light"/>
              </a:rPr>
              <a:t>needs on identity and access </a:t>
            </a:r>
            <a:r>
              <a:rPr lang="en-US" sz="2800" dirty="0" smtClean="0">
                <a:solidFill>
                  <a:srgbClr val="505050"/>
                </a:solidFill>
                <a:latin typeface="Segoe UI Light"/>
              </a:rPr>
              <a:t>management</a:t>
            </a:r>
          </a:p>
          <a:p>
            <a:pPr defTabSz="932503">
              <a:lnSpc>
                <a:spcPct val="90000"/>
              </a:lnSpc>
              <a:spcAft>
                <a:spcPts val="1800"/>
              </a:spcAft>
            </a:pPr>
            <a:r>
              <a:rPr lang="en-US" sz="2800" b="1" dirty="0" smtClean="0">
                <a:solidFill>
                  <a:srgbClr val="505050"/>
                </a:solidFill>
                <a:latin typeface="Segoe UI Light"/>
              </a:rPr>
              <a:t>Additionally, Azure AD premium offers:</a:t>
            </a:r>
          </a:p>
          <a:p>
            <a:pPr marL="342900" indent="-342900" defTabSz="932503">
              <a:lnSpc>
                <a:spcPct val="90000"/>
              </a:lnSpc>
              <a:spcAft>
                <a:spcPts val="1800"/>
              </a:spcAft>
              <a:buFont typeface="Arial" panose="020B0604020202020204" pitchFamily="34" charset="0"/>
              <a:buChar char="•"/>
            </a:pPr>
            <a:r>
              <a:rPr lang="en-US" sz="2800" dirty="0" smtClean="0">
                <a:solidFill>
                  <a:srgbClr val="505050"/>
                </a:solidFill>
                <a:latin typeface="Segoe UI Light"/>
              </a:rPr>
              <a:t>An Enterprise SLA of </a:t>
            </a:r>
            <a:r>
              <a:rPr lang="en-US" sz="2800" b="1" dirty="0" smtClean="0">
                <a:solidFill>
                  <a:srgbClr val="505050"/>
                </a:solidFill>
                <a:latin typeface="Segoe UI Light"/>
              </a:rPr>
              <a:t>99.9%</a:t>
            </a:r>
          </a:p>
          <a:p>
            <a:pPr marL="342900" indent="-342900" defTabSz="932503">
              <a:lnSpc>
                <a:spcPct val="90000"/>
              </a:lnSpc>
              <a:spcAft>
                <a:spcPts val="1800"/>
              </a:spcAft>
              <a:buClr>
                <a:srgbClr val="505050"/>
              </a:buClr>
              <a:buFont typeface="Arial" panose="020B0604020202020204" pitchFamily="34" charset="0"/>
              <a:buChar char="•"/>
            </a:pPr>
            <a:r>
              <a:rPr lang="en-US" sz="2800" dirty="0">
                <a:solidFill>
                  <a:srgbClr val="505050"/>
                </a:solidFill>
                <a:latin typeface="Segoe UI Light"/>
              </a:rPr>
              <a:t>U</a:t>
            </a:r>
            <a:r>
              <a:rPr lang="en-US" sz="2800" dirty="0" smtClean="0">
                <a:solidFill>
                  <a:srgbClr val="505050"/>
                </a:solidFill>
                <a:latin typeface="Segoe UI Light"/>
              </a:rPr>
              <a:t>sage </a:t>
            </a:r>
            <a:r>
              <a:rPr lang="en-US" sz="2800" dirty="0">
                <a:solidFill>
                  <a:srgbClr val="505050"/>
                </a:solidFill>
                <a:latin typeface="Segoe UI Light"/>
              </a:rPr>
              <a:t>rights </a:t>
            </a:r>
            <a:r>
              <a:rPr lang="en-US" sz="2800" dirty="0" smtClean="0">
                <a:solidFill>
                  <a:srgbClr val="505050"/>
                </a:solidFill>
                <a:latin typeface="Segoe UI Light"/>
              </a:rPr>
              <a:t>to </a:t>
            </a:r>
            <a:r>
              <a:rPr lang="en-US" sz="2800" b="1" dirty="0" smtClean="0">
                <a:solidFill>
                  <a:srgbClr val="0072C6">
                    <a:lumMod val="75000"/>
                  </a:srgbClr>
                </a:solidFill>
                <a:latin typeface="Segoe UI Light"/>
              </a:rPr>
              <a:t>Identity Manager</a:t>
            </a:r>
            <a:r>
              <a:rPr lang="en-US" sz="2800" dirty="0" smtClean="0">
                <a:gradFill>
                  <a:gsLst>
                    <a:gs pos="86726">
                      <a:srgbClr val="505050"/>
                    </a:gs>
                    <a:gs pos="52000">
                      <a:srgbClr val="505050"/>
                    </a:gs>
                  </a:gsLst>
                  <a:lin ang="5400000" scaled="0"/>
                </a:gradFill>
                <a:latin typeface="Segoe UI Light"/>
              </a:rPr>
              <a:t> </a:t>
            </a:r>
            <a:r>
              <a:rPr lang="en-US" sz="2800" dirty="0" smtClean="0">
                <a:solidFill>
                  <a:srgbClr val="505050"/>
                </a:solidFill>
                <a:latin typeface="Segoe UI Light"/>
              </a:rPr>
              <a:t>Server and CALs</a:t>
            </a:r>
            <a:endParaRPr lang="en-US" sz="2800" dirty="0">
              <a:solidFill>
                <a:srgbClr val="505050"/>
              </a:solidFill>
              <a:latin typeface="Segoe UI Light"/>
            </a:endParaRPr>
          </a:p>
        </p:txBody>
      </p:sp>
      <p:sp useBgFill="1">
        <p:nvSpPr>
          <p:cNvPr id="7" name="Rectangle 6"/>
          <p:cNvSpPr/>
          <p:nvPr/>
        </p:nvSpPr>
        <p:spPr bwMode="auto">
          <a:xfrm>
            <a:off x="0" y="0"/>
            <a:ext cx="5257800" cy="699452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sz="4000" dirty="0" smtClean="0">
                <a:gradFill>
                  <a:gsLst>
                    <a:gs pos="1250">
                      <a:schemeClr val="bg2"/>
                    </a:gs>
                    <a:gs pos="100000">
                      <a:schemeClr val="bg2"/>
                    </a:gs>
                  </a:gsLst>
                  <a:lin ang="5400000" scaled="0"/>
                </a:gradFill>
              </a:rPr>
              <a:t>Azure Active Directory Premium</a:t>
            </a:r>
            <a:endParaRPr lang="en-US" sz="4000" dirty="0">
              <a:gradFill>
                <a:gsLst>
                  <a:gs pos="1250">
                    <a:schemeClr val="bg2"/>
                  </a:gs>
                  <a:gs pos="100000">
                    <a:schemeClr val="bg2"/>
                  </a:gs>
                </a:gsLst>
                <a:lin ang="5400000" scaled="0"/>
              </a:gradFill>
            </a:endParaRPr>
          </a:p>
        </p:txBody>
      </p:sp>
      <p:grpSp>
        <p:nvGrpSpPr>
          <p:cNvPr id="10" name="Group 4"/>
          <p:cNvGrpSpPr>
            <a:grpSpLocks noChangeAspect="1"/>
          </p:cNvGrpSpPr>
          <p:nvPr/>
        </p:nvGrpSpPr>
        <p:grpSpPr bwMode="auto">
          <a:xfrm>
            <a:off x="693738" y="1748026"/>
            <a:ext cx="4271574" cy="4244651"/>
            <a:chOff x="3125" y="1415"/>
            <a:chExt cx="1586" cy="1576"/>
          </a:xfrm>
          <a:solidFill>
            <a:schemeClr val="tx2"/>
          </a:solidFill>
        </p:grpSpPr>
        <p:sp>
          <p:nvSpPr>
            <p:cNvPr id="11"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12"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sp>
          <p:nvSpPr>
            <p:cNvPr id="13"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endParaRPr>
            </a:p>
          </p:txBody>
        </p:sp>
      </p:grpSp>
      <p:grpSp>
        <p:nvGrpSpPr>
          <p:cNvPr id="27" name="Group 26"/>
          <p:cNvGrpSpPr/>
          <p:nvPr/>
        </p:nvGrpSpPr>
        <p:grpSpPr>
          <a:xfrm>
            <a:off x="3528015" y="3739192"/>
            <a:ext cx="802486" cy="802486"/>
            <a:chOff x="10625658" y="4454015"/>
            <a:chExt cx="802486" cy="802486"/>
          </a:xfrm>
        </p:grpSpPr>
        <p:sp>
          <p:nvSpPr>
            <p:cNvPr id="3" name="Oval 2"/>
            <p:cNvSpPr/>
            <p:nvPr/>
          </p:nvSpPr>
          <p:spPr bwMode="auto">
            <a:xfrm>
              <a:off x="10625658" y="4454015"/>
              <a:ext cx="802486" cy="802486"/>
            </a:xfrm>
            <a:prstGeom prst="ellipse">
              <a:avLst/>
            </a:prstGeom>
            <a:solidFill>
              <a:srgbClr val="00BEF2"/>
            </a:solid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Cross 1"/>
            <p:cNvSpPr/>
            <p:nvPr/>
          </p:nvSpPr>
          <p:spPr bwMode="auto">
            <a:xfrm>
              <a:off x="10835419" y="4668040"/>
              <a:ext cx="403855" cy="403855"/>
            </a:xfrm>
            <a:prstGeom prst="plus">
              <a:avLst>
                <a:gd name="adj" fmla="val 35093"/>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000000">
            <a:off x="1744499" y="3533736"/>
            <a:ext cx="551267" cy="1308832"/>
          </a:xfrm>
          <a:prstGeom prst="rect">
            <a:avLst/>
          </a:prstGeom>
        </p:spPr>
      </p:pic>
    </p:spTree>
    <p:extLst>
      <p:ext uri="{BB962C8B-B14F-4D97-AF65-F5344CB8AC3E}">
        <p14:creationId xmlns:p14="http://schemas.microsoft.com/office/powerpoint/2010/main" val="295669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250" fill="hold"/>
                                        <p:tgtEl>
                                          <p:spTgt spid="10"/>
                                        </p:tgtEl>
                                        <p:attrNameLst>
                                          <p:attrName>ppt_w</p:attrName>
                                        </p:attrNameLst>
                                      </p:cBhvr>
                                      <p:tavLst>
                                        <p:tav tm="0">
                                          <p:val>
                                            <p:fltVal val="0"/>
                                          </p:val>
                                        </p:tav>
                                        <p:tav tm="100000">
                                          <p:val>
                                            <p:strVal val="#ppt_w"/>
                                          </p:val>
                                        </p:tav>
                                      </p:tavLst>
                                    </p:anim>
                                    <p:anim calcmode="lin" valueType="num">
                                      <p:cBhvr>
                                        <p:cTn id="8" dur="250" fill="hold"/>
                                        <p:tgtEl>
                                          <p:spTgt spid="10"/>
                                        </p:tgtEl>
                                        <p:attrNameLst>
                                          <p:attrName>ppt_h</p:attrName>
                                        </p:attrNameLst>
                                      </p:cBhvr>
                                      <p:tavLst>
                                        <p:tav tm="0">
                                          <p:val>
                                            <p:fltVal val="0"/>
                                          </p:val>
                                        </p:tav>
                                        <p:tav tm="100000">
                                          <p:val>
                                            <p:strVal val="#ppt_h"/>
                                          </p:val>
                                        </p:tav>
                                      </p:tavLst>
                                    </p:anim>
                                    <p:animEffect transition="in" filter="fade">
                                      <p:cBhvr>
                                        <p:cTn id="9" dur="250"/>
                                        <p:tgtEl>
                                          <p:spTgt spid="10"/>
                                        </p:tgtEl>
                                      </p:cBhvr>
                                    </p:animEffect>
                                  </p:childTnLst>
                                </p:cTn>
                              </p:par>
                              <p:par>
                                <p:cTn id="10" presetID="6" presetClass="emph" presetSubtype="0" decel="100000" fill="hold" nodeType="withEffect">
                                  <p:stCondLst>
                                    <p:cond delay="200"/>
                                  </p:stCondLst>
                                  <p:childTnLst>
                                    <p:animScale>
                                      <p:cBhvr>
                                        <p:cTn id="11" dur="250" fill="hold"/>
                                        <p:tgtEl>
                                          <p:spTgt spid="10"/>
                                        </p:tgtEl>
                                      </p:cBhvr>
                                      <p:by x="110000" y="110000"/>
                                    </p:animScale>
                                  </p:childTnLst>
                                </p:cTn>
                              </p:par>
                              <p:par>
                                <p:cTn id="12" presetID="6" presetClass="emph" presetSubtype="0" decel="100000" fill="hold" nodeType="withEffect">
                                  <p:stCondLst>
                                    <p:cond delay="300"/>
                                  </p:stCondLst>
                                  <p:childTnLst>
                                    <p:animScale>
                                      <p:cBhvr>
                                        <p:cTn id="13" dur="250" fill="hold"/>
                                        <p:tgtEl>
                                          <p:spTgt spid="10"/>
                                        </p:tgtEl>
                                      </p:cBhvr>
                                      <p:by x="91000" y="91000"/>
                                    </p:animScale>
                                  </p:childTnLst>
                                </p:cTn>
                              </p:par>
                              <p:par>
                                <p:cTn id="14" presetID="10" presetClass="entr" presetSubtype="0" fill="hold" nodeType="withEffect">
                                  <p:stCondLst>
                                    <p:cond delay="50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63" presetClass="path" presetSubtype="0" accel="50000" decel="50000" fill="hold" nodeType="withEffect">
                                  <p:stCondLst>
                                    <p:cond delay="500"/>
                                  </p:stCondLst>
                                  <p:childTnLst>
                                    <p:animMotion origin="layout" path="M -5.59101E-7 -1.08942E-7 L -0.06293 0.07581 " pathEditMode="relative" rAng="0" ptsTypes="AA">
                                      <p:cBhvr>
                                        <p:cTn id="18" dur="750" spd="-100000" fill="hold"/>
                                        <p:tgtEl>
                                          <p:spTgt spid="27"/>
                                        </p:tgtEl>
                                        <p:attrNameLst>
                                          <p:attrName>ppt_x</p:attrName>
                                          <p:attrName>ppt_y</p:attrName>
                                        </p:attrNameLst>
                                      </p:cBhvr>
                                      <p:rCtr x="-3153" y="3790"/>
                                    </p:animMotion>
                                  </p:childTnLst>
                                </p:cTn>
                              </p:par>
                              <p:par>
                                <p:cTn id="19" presetID="10" presetClass="entr" presetSubtype="0" fill="hold" nodeType="with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42" presetClass="path" presetSubtype="0" accel="50000" decel="50000" fill="hold" nodeType="withEffect">
                                  <p:stCondLst>
                                    <p:cond delay="500"/>
                                  </p:stCondLst>
                                  <p:childTnLst>
                                    <p:animMotion origin="layout" path="M 8.39929E-7 9.94099E-7 L 0.06804 -0.11167 " pathEditMode="relative" rAng="0" ptsTypes="AA">
                                      <p:cBhvr>
                                        <p:cTn id="23" dur="750" spd="-100000" fill="hold"/>
                                        <p:tgtEl>
                                          <p:spTgt spid="16"/>
                                        </p:tgtEl>
                                        <p:attrNameLst>
                                          <p:attrName>ppt_x</p:attrName>
                                          <p:attrName>ppt_y</p:attrName>
                                        </p:attrNameLst>
                                      </p:cBhvr>
                                      <p:rCtr x="3395" y="-5583"/>
                                    </p:animMotion>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grpId="0" nodeType="clickEffect">
                                  <p:stCondLst>
                                    <p:cond delay="0"/>
                                  </p:stCondLst>
                                  <p:childTnLst>
                                    <p:set>
                                      <p:cBhvr>
                                        <p:cTn id="27" dur="1" fill="hold">
                                          <p:stCondLst>
                                            <p:cond delay="0"/>
                                          </p:stCondLst>
                                        </p:cTn>
                                        <p:tgtEl>
                                          <p:spTgt spid="5">
                                            <p:txEl>
                                              <p:pRg st="0" end="0"/>
                                            </p:txEl>
                                          </p:spTgt>
                                        </p:tgtEl>
                                        <p:attrNameLst>
                                          <p:attrName>style.visibility</p:attrName>
                                        </p:attrNameLst>
                                      </p:cBhvr>
                                      <p:to>
                                        <p:strVal val="visible"/>
                                      </p:to>
                                    </p:set>
                                    <p:anim calcmode="lin" valueType="num">
                                      <p:cBhvr additive="base">
                                        <p:cTn id="28" dur="75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29" dur="75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30" fill="hold">
                            <p:stCondLst>
                              <p:cond delay="750"/>
                            </p:stCondLst>
                            <p:childTnLst>
                              <p:par>
                                <p:cTn id="31" presetID="2" presetClass="entr" presetSubtype="8" decel="100000" fill="hold" grpId="0" nodeType="afterEffect">
                                  <p:stCondLst>
                                    <p:cond delay="0"/>
                                  </p:stCondLst>
                                  <p:childTnLst>
                                    <p:set>
                                      <p:cBhvr>
                                        <p:cTn id="32" dur="1" fill="hold">
                                          <p:stCondLst>
                                            <p:cond delay="0"/>
                                          </p:stCondLst>
                                        </p:cTn>
                                        <p:tgtEl>
                                          <p:spTgt spid="5">
                                            <p:txEl>
                                              <p:pRg st="1" end="1"/>
                                            </p:txEl>
                                          </p:spTgt>
                                        </p:tgtEl>
                                        <p:attrNameLst>
                                          <p:attrName>style.visibility</p:attrName>
                                        </p:attrNameLst>
                                      </p:cBhvr>
                                      <p:to>
                                        <p:strVal val="visible"/>
                                      </p:to>
                                    </p:set>
                                    <p:anim calcmode="lin" valueType="num">
                                      <p:cBhvr additive="base">
                                        <p:cTn id="33" dur="750" fill="hold"/>
                                        <p:tgtEl>
                                          <p:spTgt spid="5">
                                            <p:txEl>
                                              <p:pRg st="1" end="1"/>
                                            </p:txEl>
                                          </p:spTgt>
                                        </p:tgtEl>
                                        <p:attrNameLst>
                                          <p:attrName>ppt_x</p:attrName>
                                        </p:attrNameLst>
                                      </p:cBhvr>
                                      <p:tavLst>
                                        <p:tav tm="0">
                                          <p:val>
                                            <p:strVal val="0-#ppt_w/2"/>
                                          </p:val>
                                        </p:tav>
                                        <p:tav tm="100000">
                                          <p:val>
                                            <p:strVal val="#ppt_x"/>
                                          </p:val>
                                        </p:tav>
                                      </p:tavLst>
                                    </p:anim>
                                    <p:anim calcmode="lin" valueType="num">
                                      <p:cBhvr additive="base">
                                        <p:cTn id="34" dur="75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35" fill="hold">
                            <p:stCondLst>
                              <p:cond delay="1500"/>
                            </p:stCondLst>
                            <p:childTnLst>
                              <p:par>
                                <p:cTn id="36" presetID="2" presetClass="entr" presetSubtype="8" decel="100000" fill="hold" grpId="0" nodeType="afterEffect">
                                  <p:stCondLst>
                                    <p:cond delay="0"/>
                                  </p:stCondLst>
                                  <p:childTnLst>
                                    <p:set>
                                      <p:cBhvr>
                                        <p:cTn id="37" dur="1" fill="hold">
                                          <p:stCondLst>
                                            <p:cond delay="0"/>
                                          </p:stCondLst>
                                        </p:cTn>
                                        <p:tgtEl>
                                          <p:spTgt spid="5">
                                            <p:txEl>
                                              <p:pRg st="2" end="2"/>
                                            </p:txEl>
                                          </p:spTgt>
                                        </p:tgtEl>
                                        <p:attrNameLst>
                                          <p:attrName>style.visibility</p:attrName>
                                        </p:attrNameLst>
                                      </p:cBhvr>
                                      <p:to>
                                        <p:strVal val="visible"/>
                                      </p:to>
                                    </p:set>
                                    <p:anim calcmode="lin" valueType="num">
                                      <p:cBhvr additive="base">
                                        <p:cTn id="38" dur="750" fill="hold"/>
                                        <p:tgtEl>
                                          <p:spTgt spid="5">
                                            <p:txEl>
                                              <p:pRg st="2" end="2"/>
                                            </p:txEl>
                                          </p:spTgt>
                                        </p:tgtEl>
                                        <p:attrNameLst>
                                          <p:attrName>ppt_x</p:attrName>
                                        </p:attrNameLst>
                                      </p:cBhvr>
                                      <p:tavLst>
                                        <p:tav tm="0">
                                          <p:val>
                                            <p:strVal val="0-#ppt_w/2"/>
                                          </p:val>
                                        </p:tav>
                                        <p:tav tm="100000">
                                          <p:val>
                                            <p:strVal val="#ppt_x"/>
                                          </p:val>
                                        </p:tav>
                                      </p:tavLst>
                                    </p:anim>
                                    <p:anim calcmode="lin" valueType="num">
                                      <p:cBhvr additive="base">
                                        <p:cTn id="39" dur="750" fill="hold"/>
                                        <p:tgtEl>
                                          <p:spTgt spid="5">
                                            <p:txEl>
                                              <p:pRg st="2" end="2"/>
                                            </p:txEl>
                                          </p:spTgt>
                                        </p:tgtEl>
                                        <p:attrNameLst>
                                          <p:attrName>ppt_y</p:attrName>
                                        </p:attrNameLst>
                                      </p:cBhvr>
                                      <p:tavLst>
                                        <p:tav tm="0">
                                          <p:val>
                                            <p:strVal val="#ppt_y"/>
                                          </p:val>
                                        </p:tav>
                                        <p:tav tm="100000">
                                          <p:val>
                                            <p:strVal val="#ppt_y"/>
                                          </p:val>
                                        </p:tav>
                                      </p:tavLst>
                                    </p:anim>
                                  </p:childTnLst>
                                </p:cTn>
                              </p:par>
                            </p:childTnLst>
                          </p:cTn>
                        </p:par>
                        <p:par>
                          <p:cTn id="40" fill="hold">
                            <p:stCondLst>
                              <p:cond delay="2250"/>
                            </p:stCondLst>
                            <p:childTnLst>
                              <p:par>
                                <p:cTn id="41" presetID="2" presetClass="entr" presetSubtype="8" decel="100000" fill="hold" grpId="0" nodeType="afterEffect">
                                  <p:stCondLst>
                                    <p:cond delay="0"/>
                                  </p:stCondLst>
                                  <p:childTnLst>
                                    <p:set>
                                      <p:cBhvr>
                                        <p:cTn id="42" dur="1" fill="hold">
                                          <p:stCondLst>
                                            <p:cond delay="0"/>
                                          </p:stCondLst>
                                        </p:cTn>
                                        <p:tgtEl>
                                          <p:spTgt spid="5">
                                            <p:txEl>
                                              <p:pRg st="3" end="3"/>
                                            </p:txEl>
                                          </p:spTgt>
                                        </p:tgtEl>
                                        <p:attrNameLst>
                                          <p:attrName>style.visibility</p:attrName>
                                        </p:attrNameLst>
                                      </p:cBhvr>
                                      <p:to>
                                        <p:strVal val="visible"/>
                                      </p:to>
                                    </p:set>
                                    <p:anim calcmode="lin" valueType="num">
                                      <p:cBhvr additive="base">
                                        <p:cTn id="43" dur="750" fill="hold"/>
                                        <p:tgtEl>
                                          <p:spTgt spid="5">
                                            <p:txEl>
                                              <p:pRg st="3" end="3"/>
                                            </p:txEl>
                                          </p:spTgt>
                                        </p:tgtEl>
                                        <p:attrNameLst>
                                          <p:attrName>ppt_x</p:attrName>
                                        </p:attrNameLst>
                                      </p:cBhvr>
                                      <p:tavLst>
                                        <p:tav tm="0">
                                          <p:val>
                                            <p:strVal val="0-#ppt_w/2"/>
                                          </p:val>
                                        </p:tav>
                                        <p:tav tm="100000">
                                          <p:val>
                                            <p:strVal val="#ppt_x"/>
                                          </p:val>
                                        </p:tav>
                                      </p:tavLst>
                                    </p:anim>
                                    <p:anim calcmode="lin" valueType="num">
                                      <p:cBhvr additive="base">
                                        <p:cTn id="44" dur="750" fill="hold"/>
                                        <p:tgtEl>
                                          <p:spTgt spid="5">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83"/>
          <p:cNvSpPr>
            <a:spLocks noChangeAspect="1"/>
          </p:cNvSpPr>
          <p:nvPr/>
        </p:nvSpPr>
        <p:spPr bwMode="auto">
          <a:xfrm>
            <a:off x="9896451" y="1898125"/>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5" name="Freeform 84"/>
          <p:cNvSpPr>
            <a:spLocks noChangeAspect="1"/>
          </p:cNvSpPr>
          <p:nvPr/>
        </p:nvSpPr>
        <p:spPr bwMode="auto">
          <a:xfrm>
            <a:off x="9240927" y="2685521"/>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2" name="Freeform 81"/>
          <p:cNvSpPr>
            <a:spLocks noChangeAspect="1"/>
          </p:cNvSpPr>
          <p:nvPr/>
        </p:nvSpPr>
        <p:spPr bwMode="auto">
          <a:xfrm>
            <a:off x="7650854" y="1209188"/>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3" name="Freeform 82"/>
          <p:cNvSpPr>
            <a:spLocks noChangeAspect="1"/>
          </p:cNvSpPr>
          <p:nvPr/>
        </p:nvSpPr>
        <p:spPr bwMode="auto">
          <a:xfrm>
            <a:off x="6995330" y="1933815"/>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0" name="Freeform 79"/>
          <p:cNvSpPr>
            <a:spLocks noChangeAspect="1"/>
          </p:cNvSpPr>
          <p:nvPr/>
        </p:nvSpPr>
        <p:spPr bwMode="auto">
          <a:xfrm>
            <a:off x="4062198" y="108167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81" name="Freeform 80"/>
          <p:cNvSpPr>
            <a:spLocks noChangeAspect="1"/>
          </p:cNvSpPr>
          <p:nvPr/>
        </p:nvSpPr>
        <p:spPr bwMode="auto">
          <a:xfrm>
            <a:off x="3406674" y="182423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9" name="Freeform 68"/>
          <p:cNvSpPr>
            <a:spLocks noChangeAspect="1"/>
          </p:cNvSpPr>
          <p:nvPr/>
        </p:nvSpPr>
        <p:spPr bwMode="auto">
          <a:xfrm>
            <a:off x="739661" y="1877666"/>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3" name="Freeform 62"/>
          <p:cNvSpPr>
            <a:spLocks noChangeAspect="1"/>
          </p:cNvSpPr>
          <p:nvPr/>
        </p:nvSpPr>
        <p:spPr bwMode="auto">
          <a:xfrm>
            <a:off x="84137" y="2602293"/>
            <a:ext cx="2491349" cy="133430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AEEF"/>
          </a:solidFill>
          <a:ln w="19050" cap="flat" cmpd="sng" algn="ctr">
            <a:solidFill>
              <a:srgbClr val="002060"/>
            </a:solidFill>
            <a:prstDash val="solid"/>
            <a:headEnd type="none" w="med" len="med"/>
            <a:tailEnd type="none" w="med" len="med"/>
          </a:ln>
          <a:effectLst/>
          <a:extLst/>
        </p:spPr>
        <p:txBody>
          <a:bodyPr vert="horz" wrap="square" lIns="116538" tIns="0" rIns="116538" bIns="58268"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65132" fontAlgn="base">
              <a:spcBef>
                <a:spcPct val="0"/>
              </a:spcBef>
              <a:spcAft>
                <a:spcPct val="0"/>
              </a:spcAft>
              <a:defRPr/>
            </a:pPr>
            <a:endParaRPr lang="en-US" sz="1977" b="1" kern="0" dirty="0">
              <a:solidFill>
                <a:srgbClr val="505050"/>
              </a:solidFill>
              <a:latin typeface="Segoe" pitchFamily="34" charset="0"/>
            </a:endParaRPr>
          </a:p>
        </p:txBody>
      </p:sp>
      <p:sp>
        <p:nvSpPr>
          <p:cNvPr id="6" name="Title 5"/>
          <p:cNvSpPr>
            <a:spLocks noGrp="1"/>
          </p:cNvSpPr>
          <p:nvPr>
            <p:ph type="title"/>
          </p:nvPr>
        </p:nvSpPr>
        <p:spPr>
          <a:xfrm>
            <a:off x="274321" y="296899"/>
            <a:ext cx="11887518" cy="498598"/>
          </a:xfrm>
        </p:spPr>
        <p:txBody>
          <a:bodyPr vert="horz" wrap="square" lIns="0" tIns="0" rIns="0" bIns="0" rtlCol="0" anchor="t">
            <a:spAutoFit/>
          </a:bodyPr>
          <a:lstStyle/>
          <a:p>
            <a:r>
              <a:rPr lang="en-US" sz="3600" dirty="0">
                <a:solidFill>
                  <a:schemeClr val="tx1"/>
                </a:solidFill>
              </a:rPr>
              <a:t>A world of devices and </a:t>
            </a:r>
            <a:r>
              <a:rPr lang="en-US" sz="3600" dirty="0" smtClean="0">
                <a:solidFill>
                  <a:schemeClr val="tx1"/>
                </a:solidFill>
              </a:rPr>
              <a:t>SaaS Applications : Is this my problem?</a:t>
            </a:r>
            <a:endParaRPr lang="en-US" sz="3600" dirty="0">
              <a:solidFill>
                <a:schemeClr val="tx1"/>
              </a:solidFill>
            </a:endParaRPr>
          </a:p>
        </p:txBody>
      </p:sp>
      <p:sp>
        <p:nvSpPr>
          <p:cNvPr id="70" name="Isosceles Triangle 69"/>
          <p:cNvSpPr/>
          <p:nvPr/>
        </p:nvSpPr>
        <p:spPr bwMode="auto">
          <a:xfrm>
            <a:off x="5666163" y="3494041"/>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523934" y="3493930"/>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2" name="Freeform 20"/>
          <p:cNvSpPr>
            <a:spLocks noEditPoints="1"/>
          </p:cNvSpPr>
          <p:nvPr/>
        </p:nvSpPr>
        <p:spPr bwMode="black">
          <a:xfrm>
            <a:off x="9771834" y="5223327"/>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pic>
        <p:nvPicPr>
          <p:cNvPr id="73" name="Picture 72"/>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173983" y="5129665"/>
            <a:ext cx="226239" cy="408842"/>
          </a:xfrm>
          <a:prstGeom prst="rect">
            <a:avLst/>
          </a:prstGeom>
          <a:solidFill>
            <a:srgbClr val="0070C0"/>
          </a:solidFill>
          <a:ln>
            <a:solidFill>
              <a:schemeClr val="tx1"/>
            </a:solidFill>
          </a:ln>
        </p:spPr>
      </p:pic>
      <p:sp>
        <p:nvSpPr>
          <p:cNvPr id="74" name="Phone icon 2"/>
          <p:cNvSpPr>
            <a:spLocks noChangeAspect="1" noEditPoints="1"/>
          </p:cNvSpPr>
          <p:nvPr/>
        </p:nvSpPr>
        <p:spPr bwMode="auto">
          <a:xfrm>
            <a:off x="6876914" y="5730569"/>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tx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000000"/>
                  </a:gs>
                  <a:gs pos="0">
                    <a:srgbClr val="000000"/>
                  </a:gs>
                </a:gsLst>
                <a:lin ang="5400000" scaled="1"/>
              </a:gradFill>
            </a:endParaRPr>
          </a:p>
        </p:txBody>
      </p:sp>
      <p:sp>
        <p:nvSpPr>
          <p:cNvPr id="75" name="Rounded Rectangle 2"/>
          <p:cNvSpPr>
            <a:spLocks noChangeAspect="1"/>
          </p:cNvSpPr>
          <p:nvPr/>
        </p:nvSpPr>
        <p:spPr>
          <a:xfrm>
            <a:off x="7716095" y="5223327"/>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000000"/>
                  </a:gs>
                  <a:gs pos="0">
                    <a:srgbClr val="000000"/>
                  </a:gs>
                </a:gsLst>
                <a:lin ang="5400000" scaled="1"/>
              </a:gradFill>
            </a:endParaRPr>
          </a:p>
        </p:txBody>
      </p:sp>
      <p:pic>
        <p:nvPicPr>
          <p:cNvPr id="109" name="Picture 108"/>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077149" y="5595377"/>
            <a:ext cx="226239" cy="408842"/>
          </a:xfrm>
          <a:prstGeom prst="rect">
            <a:avLst/>
          </a:prstGeom>
          <a:solidFill>
            <a:srgbClr val="0070C0"/>
          </a:solidFill>
          <a:ln>
            <a:solidFill>
              <a:schemeClr val="tx1"/>
            </a:solidFill>
          </a:ln>
        </p:spPr>
      </p:pic>
      <p:sp>
        <p:nvSpPr>
          <p:cNvPr id="110" name="Freeform 20"/>
          <p:cNvSpPr>
            <a:spLocks noEditPoints="1"/>
          </p:cNvSpPr>
          <p:nvPr/>
        </p:nvSpPr>
        <p:spPr bwMode="black">
          <a:xfrm>
            <a:off x="4984950" y="5679276"/>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sp>
        <p:nvSpPr>
          <p:cNvPr id="111" name="Rounded Rectangle 2"/>
          <p:cNvSpPr>
            <a:spLocks noChangeAspect="1"/>
          </p:cNvSpPr>
          <p:nvPr/>
        </p:nvSpPr>
        <p:spPr>
          <a:xfrm>
            <a:off x="3864344" y="5382465"/>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000000"/>
                  </a:gs>
                  <a:gs pos="0">
                    <a:srgbClr val="000000"/>
                  </a:gs>
                </a:gsLst>
                <a:lin ang="5400000" scaled="1"/>
              </a:gradFill>
            </a:endParaRPr>
          </a:p>
        </p:txBody>
      </p:sp>
      <p:sp>
        <p:nvSpPr>
          <p:cNvPr id="5" name="TextBox 4"/>
          <p:cNvSpPr txBox="1"/>
          <p:nvPr/>
        </p:nvSpPr>
        <p:spPr>
          <a:xfrm>
            <a:off x="726203" y="3211416"/>
            <a:ext cx="1691121"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Salesforce.com</a:t>
            </a:r>
          </a:p>
        </p:txBody>
      </p:sp>
      <p:sp>
        <p:nvSpPr>
          <p:cNvPr id="29" name="TextBox 28"/>
          <p:cNvSpPr txBox="1"/>
          <p:nvPr/>
        </p:nvSpPr>
        <p:spPr>
          <a:xfrm>
            <a:off x="1539889" y="2308347"/>
            <a:ext cx="1691121" cy="256159"/>
          </a:xfrm>
          <a:prstGeom prst="rect">
            <a:avLst/>
          </a:prstGeom>
          <a:noFill/>
        </p:spPr>
        <p:txBody>
          <a:bodyPr wrap="square" lIns="0" tIns="0" rIns="0" bIns="0" rtlCol="0">
            <a:spAutoFit/>
          </a:bodyPr>
          <a:lstStyle/>
          <a:p>
            <a:pPr algn="ctr"/>
            <a:r>
              <a:rPr lang="en-US" sz="1632" dirty="0">
                <a:solidFill>
                  <a:srgbClr val="000000"/>
                </a:solidFill>
                <a:latin typeface="Segoe UI Light" pitchFamily="34" charset="0"/>
              </a:rPr>
              <a:t>force.com</a:t>
            </a:r>
          </a:p>
        </p:txBody>
      </p:sp>
      <p:sp>
        <p:nvSpPr>
          <p:cNvPr id="30" name="TextBox 29"/>
          <p:cNvSpPr txBox="1"/>
          <p:nvPr/>
        </p:nvSpPr>
        <p:spPr>
          <a:xfrm>
            <a:off x="7534717" y="2486792"/>
            <a:ext cx="1691121" cy="576274"/>
          </a:xfrm>
          <a:prstGeom prst="rect">
            <a:avLst/>
          </a:prstGeom>
          <a:noFill/>
        </p:spPr>
        <p:txBody>
          <a:bodyPr wrap="square" lIns="0" tIns="0" rIns="0" bIns="0" rtlCol="0">
            <a:spAutoFit/>
          </a:bodyPr>
          <a:lstStyle/>
          <a:p>
            <a:pPr algn="ctr"/>
            <a:r>
              <a:rPr lang="en-US" sz="1836" dirty="0">
                <a:solidFill>
                  <a:srgbClr val="000000"/>
                </a:solidFill>
                <a:latin typeface="Segoe UI Light" pitchFamily="34" charset="0"/>
              </a:rPr>
              <a:t>Amazon.com</a:t>
            </a:r>
          </a:p>
          <a:p>
            <a:pPr algn="ctr"/>
            <a:r>
              <a:rPr lang="en-US" sz="1836" dirty="0">
                <a:solidFill>
                  <a:srgbClr val="000000"/>
                </a:solidFill>
                <a:latin typeface="Segoe UI Light" pitchFamily="34" charset="0"/>
              </a:rPr>
              <a:t>AWS</a:t>
            </a:r>
          </a:p>
        </p:txBody>
      </p:sp>
      <p:sp>
        <p:nvSpPr>
          <p:cNvPr id="31" name="TextBox 30"/>
          <p:cNvSpPr txBox="1"/>
          <p:nvPr/>
        </p:nvSpPr>
        <p:spPr>
          <a:xfrm>
            <a:off x="9934808" y="3386783"/>
            <a:ext cx="1691121"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Private cloud</a:t>
            </a:r>
          </a:p>
        </p:txBody>
      </p:sp>
      <p:sp>
        <p:nvSpPr>
          <p:cNvPr id="32" name="TextBox 31"/>
          <p:cNvSpPr txBox="1"/>
          <p:nvPr/>
        </p:nvSpPr>
        <p:spPr>
          <a:xfrm>
            <a:off x="9126247" y="1586366"/>
            <a:ext cx="560404" cy="288137"/>
          </a:xfrm>
          <a:prstGeom prst="rect">
            <a:avLst/>
          </a:prstGeom>
          <a:noFill/>
        </p:spPr>
        <p:txBody>
          <a:bodyPr wrap="square" lIns="0" tIns="0" rIns="0" bIns="0" rtlCol="0">
            <a:spAutoFit/>
          </a:bodyPr>
          <a:lstStyle/>
          <a:p>
            <a:r>
              <a:rPr lang="en-US" sz="1836" dirty="0">
                <a:solidFill>
                  <a:srgbClr val="000000"/>
                </a:solidFill>
                <a:latin typeface="Segoe UI Light" pitchFamily="34" charset="0"/>
              </a:rPr>
              <a:t>EC2</a:t>
            </a:r>
          </a:p>
        </p:txBody>
      </p:sp>
      <p:sp>
        <p:nvSpPr>
          <p:cNvPr id="33" name="Phone icon 2"/>
          <p:cNvSpPr>
            <a:spLocks noChangeAspect="1" noEditPoints="1"/>
          </p:cNvSpPr>
          <p:nvPr/>
        </p:nvSpPr>
        <p:spPr bwMode="auto">
          <a:xfrm>
            <a:off x="8737001" y="5198593"/>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tx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000000"/>
                  </a:gs>
                  <a:gs pos="0">
                    <a:srgbClr val="000000"/>
                  </a:gs>
                </a:gsLst>
                <a:lin ang="5400000" scaled="1"/>
              </a:gradFill>
            </a:endParaRPr>
          </a:p>
        </p:txBody>
      </p:sp>
      <p:sp>
        <p:nvSpPr>
          <p:cNvPr id="34" name="Freeform 20"/>
          <p:cNvSpPr>
            <a:spLocks noEditPoints="1"/>
          </p:cNvSpPr>
          <p:nvPr/>
        </p:nvSpPr>
        <p:spPr bwMode="black">
          <a:xfrm>
            <a:off x="1378572" y="5647899"/>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cxnSp>
        <p:nvCxnSpPr>
          <p:cNvPr id="10" name="Straight Arrow Connector 9"/>
          <p:cNvCxnSpPr/>
          <p:nvPr/>
        </p:nvCxnSpPr>
        <p:spPr>
          <a:xfrm>
            <a:off x="1378573" y="4051927"/>
            <a:ext cx="374176" cy="155550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1895960" y="3253942"/>
            <a:ext cx="2616251" cy="229432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2051394" y="3337889"/>
            <a:ext cx="5184563" cy="236581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7391391" y="3493324"/>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206926" y="3448631"/>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206926" y="4051928"/>
            <a:ext cx="1040754"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10266746" y="4051928"/>
            <a:ext cx="48398"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318897" y="3292458"/>
            <a:ext cx="4780962" cy="176917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525073" y="3669296"/>
            <a:ext cx="2890412" cy="19882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841895" y="3212314"/>
            <a:ext cx="664601" cy="23478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6301064" y="3352672"/>
            <a:ext cx="549624" cy="171148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74" idx="1"/>
          </p:cNvCxnSpPr>
          <p:nvPr/>
        </p:nvCxnSpPr>
        <p:spPr>
          <a:xfrm>
            <a:off x="5673383" y="3081994"/>
            <a:ext cx="1203702" cy="26486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2774202" y="3268118"/>
            <a:ext cx="412462" cy="227038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3685676" y="3185346"/>
            <a:ext cx="451927" cy="208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a:off x="4278536" y="3253942"/>
            <a:ext cx="2476221" cy="20037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5555625" y="4069905"/>
            <a:ext cx="3413270" cy="15798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8504951" y="3379177"/>
            <a:ext cx="1712665" cy="16824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1325271" y="2465299"/>
            <a:ext cx="1226506" cy="192135"/>
          </a:xfrm>
          <a:prstGeom prst="rect">
            <a:avLst/>
          </a:prstGeom>
          <a:noFill/>
        </p:spPr>
        <p:txBody>
          <a:bodyPr wrap="square" lIns="0" tIns="0" rIns="0" bIns="0" rtlCol="0">
            <a:spAutoFit/>
          </a:bodyPr>
          <a:lstStyle/>
          <a:p>
            <a:r>
              <a:rPr lang="en-US" sz="1224" dirty="0">
                <a:solidFill>
                  <a:srgbClr val="000000"/>
                </a:solidFill>
                <a:latin typeface="Segoe Pro"/>
              </a:rPr>
              <a:t>System Center</a:t>
            </a:r>
          </a:p>
        </p:txBody>
      </p:sp>
      <p:pic>
        <p:nvPicPr>
          <p:cNvPr id="51" name="Picture 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35318" y="2178429"/>
            <a:ext cx="1472234" cy="346054"/>
          </a:xfrm>
          <a:prstGeom prst="rect">
            <a:avLst/>
          </a:prstGeom>
        </p:spPr>
      </p:pic>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41894" y="1446670"/>
            <a:ext cx="1721851" cy="399225"/>
          </a:xfrm>
          <a:prstGeom prst="rect">
            <a:avLst/>
          </a:prstGeom>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61731" y="2524483"/>
            <a:ext cx="1509278" cy="522490"/>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81965" y="2203721"/>
            <a:ext cx="1438241" cy="299775"/>
          </a:xfrm>
          <a:prstGeom prst="rect">
            <a:avLst/>
          </a:prstGeom>
        </p:spPr>
      </p:pic>
      <p:sp>
        <p:nvSpPr>
          <p:cNvPr id="55" name="TextBox 48"/>
          <p:cNvSpPr txBox="1"/>
          <p:nvPr/>
        </p:nvSpPr>
        <p:spPr>
          <a:xfrm>
            <a:off x="661890" y="2183980"/>
            <a:ext cx="11070385" cy="2600712"/>
          </a:xfrm>
          <a:prstGeom prst="rect">
            <a:avLst/>
          </a:prstGeom>
          <a:solidFill>
            <a:srgbClr val="00BEF2"/>
          </a:solidFill>
          <a:ln w="12700" cap="flat" cmpd="sng" algn="ctr">
            <a:solidFill>
              <a:srgbClr val="002060"/>
            </a:solidFill>
            <a:prstDash val="solid"/>
            <a:miter lim="800000"/>
          </a:ln>
          <a:effectLst/>
        </p:spPr>
        <p:txBody>
          <a:bodyPr wrap="square" lIns="0" tIns="0" rIns="0" bIns="0" rtlCol="0">
            <a:spAutoFit/>
          </a:bodyPr>
          <a:lstStyle/>
          <a:p>
            <a:pPr algn="ctr" defTabSz="914400">
              <a:tabLst>
                <a:tab pos="8684895" algn="l"/>
              </a:tabLst>
              <a:defRPr/>
            </a:pPr>
            <a:r>
              <a:rPr lang="en-US" sz="2400" i="1" dirty="0">
                <a:solidFill>
                  <a:srgbClr val="000000"/>
                </a:solidFill>
                <a:latin typeface="Segoe UI Light"/>
                <a:ea typeface="Times New Roman" panose="02020603050405020304" pitchFamily="18" charset="0"/>
                <a:cs typeface="Times New Roman" panose="02020603050405020304" pitchFamily="18" charset="0"/>
              </a:rPr>
              <a:t>Organizations risk fragmented, complex and non-compliant use of cloud-based resources</a:t>
            </a:r>
            <a:r>
              <a:rPr lang="en-US" sz="2400" i="1" baseline="30000" dirty="0">
                <a:solidFill>
                  <a:srgbClr val="000000"/>
                </a:solidFill>
                <a:latin typeface="Segoe UI Light"/>
                <a:ea typeface="Times New Roman" panose="02020603050405020304" pitchFamily="18" charset="0"/>
                <a:cs typeface="Times New Roman" panose="02020603050405020304" pitchFamily="18" charset="0"/>
              </a:rPr>
              <a:t>1</a:t>
            </a:r>
            <a:endParaRPr lang="en-US" sz="1400" kern="0" dirty="0">
              <a:solidFill>
                <a:sysClr val="window" lastClr="FFFFFF"/>
              </a:solidFill>
              <a:latin typeface="Segoe UI Light"/>
              <a:ea typeface="Times New Roman" panose="02020603050405020304" pitchFamily="18" charset="0"/>
            </a:endParaRPr>
          </a:p>
          <a:p>
            <a:pPr marL="521335" defTabSz="914400">
              <a:tabLst>
                <a:tab pos="8684895" algn="l"/>
              </a:tabLst>
              <a:defRPr/>
            </a:pPr>
            <a:r>
              <a:rPr lang="en-US" sz="2400" dirty="0">
                <a:solidFill>
                  <a:srgbClr val="000000"/>
                </a:solidFill>
                <a:latin typeface="Segoe UI Light"/>
                <a:ea typeface="Times New Roman" panose="02020603050405020304" pitchFamily="18" charset="0"/>
                <a:cs typeface="Times New Roman" panose="02020603050405020304" pitchFamily="18" charset="0"/>
              </a:rPr>
              <a:t>IT is ill-equipped to handle this </a:t>
            </a:r>
            <a:r>
              <a:rPr lang="en-US" sz="2800" dirty="0" smtClean="0">
                <a:solidFill>
                  <a:srgbClr val="000000"/>
                </a:solidFill>
                <a:latin typeface="Segoe UI Light"/>
                <a:ea typeface="Times New Roman" panose="02020603050405020304" pitchFamily="18" charset="0"/>
                <a:cs typeface="Times New Roman" panose="02020603050405020304" pitchFamily="18" charset="0"/>
              </a:rPr>
              <a:t>challenge</a:t>
            </a:r>
          </a:p>
          <a:p>
            <a:pPr marL="521335" defTabSz="914400">
              <a:tabLst>
                <a:tab pos="8684895" algn="l"/>
              </a:tabLst>
              <a:defRPr/>
            </a:pPr>
            <a:endParaRPr lang="en-US" sz="1400" kern="0" dirty="0">
              <a:solidFill>
                <a:sysClr val="window" lastClr="FFFFFF"/>
              </a:solidFill>
              <a:latin typeface="Segoe UI Light"/>
              <a:ea typeface="Times New Roman" panose="02020603050405020304" pitchFamily="18" charset="0"/>
            </a:endParaRPr>
          </a:p>
          <a:p>
            <a:pPr marL="521335" defTabSz="914400">
              <a:tabLst>
                <a:tab pos="8684895" algn="l"/>
              </a:tabLst>
              <a:defRPr/>
            </a:pPr>
            <a:r>
              <a:rPr lang="en-US" b="1" dirty="0">
                <a:solidFill>
                  <a:srgbClr val="000000"/>
                </a:solidFill>
                <a:latin typeface="Segoe UI Light"/>
                <a:ea typeface="Times New Roman" panose="02020603050405020304" pitchFamily="18" charset="0"/>
                <a:cs typeface="Times New Roman" panose="02020603050405020304" pitchFamily="18" charset="0"/>
              </a:rPr>
              <a:t>Lack of insights</a:t>
            </a:r>
            <a:r>
              <a:rPr lang="en-US" dirty="0">
                <a:solidFill>
                  <a:srgbClr val="000000"/>
                </a:solidFill>
                <a:latin typeface="Segoe UI Light"/>
                <a:ea typeface="Times New Roman" panose="02020603050405020304" pitchFamily="18" charset="0"/>
                <a:cs typeface="Times New Roman" panose="02020603050405020304" pitchFamily="18" charset="0"/>
              </a:rPr>
              <a:t>: Limited data about how many or which cloud apps are being used </a:t>
            </a:r>
            <a:endParaRPr lang="en-US" sz="1400" kern="0" dirty="0">
              <a:solidFill>
                <a:sysClr val="window" lastClr="FFFFFF"/>
              </a:solidFill>
              <a:latin typeface="Segoe UI Light"/>
              <a:ea typeface="Times New Roman" panose="02020603050405020304" pitchFamily="18" charset="0"/>
            </a:endParaRPr>
          </a:p>
          <a:p>
            <a:pPr marL="521335" defTabSz="914400">
              <a:tabLst>
                <a:tab pos="8684895" algn="l"/>
              </a:tabLst>
              <a:defRPr/>
            </a:pPr>
            <a:r>
              <a:rPr lang="en-US" b="1" dirty="0">
                <a:solidFill>
                  <a:srgbClr val="000000"/>
                </a:solidFill>
                <a:latin typeface="Segoe UI Light"/>
                <a:ea typeface="Times New Roman" panose="02020603050405020304" pitchFamily="18" charset="0"/>
                <a:cs typeface="Times New Roman" panose="02020603050405020304" pitchFamily="18" charset="0"/>
              </a:rPr>
              <a:t>Lack of control</a:t>
            </a:r>
            <a:r>
              <a:rPr lang="en-US" dirty="0">
                <a:solidFill>
                  <a:srgbClr val="000000"/>
                </a:solidFill>
                <a:latin typeface="Segoe UI Light"/>
                <a:ea typeface="Times New Roman" panose="02020603050405020304" pitchFamily="18" charset="0"/>
                <a:cs typeface="Times New Roman" panose="02020603050405020304" pitchFamily="18" charset="0"/>
              </a:rPr>
              <a:t>:  Don’t know how to assess the risk much less control it.</a:t>
            </a:r>
            <a:endParaRPr lang="en-US" sz="1400" kern="0" dirty="0">
              <a:solidFill>
                <a:sysClr val="window" lastClr="FFFFFF"/>
              </a:solidFill>
              <a:latin typeface="Segoe UI Light"/>
              <a:ea typeface="Times New Roman" panose="02020603050405020304" pitchFamily="18" charset="0"/>
            </a:endParaRPr>
          </a:p>
          <a:p>
            <a:pPr marL="521335" defTabSz="914400">
              <a:tabLst>
                <a:tab pos="8684895" algn="l"/>
              </a:tabLst>
              <a:defRPr/>
            </a:pPr>
            <a:r>
              <a:rPr lang="en-US" b="1" dirty="0">
                <a:solidFill>
                  <a:srgbClr val="000000"/>
                </a:solidFill>
                <a:latin typeface="Segoe UI Light"/>
                <a:ea typeface="Times New Roman" panose="02020603050405020304" pitchFamily="18" charset="0"/>
                <a:cs typeface="Times New Roman" panose="02020603050405020304" pitchFamily="18" charset="0"/>
              </a:rPr>
              <a:t>Lack of tools</a:t>
            </a:r>
            <a:r>
              <a:rPr lang="en-US" dirty="0">
                <a:solidFill>
                  <a:srgbClr val="000000"/>
                </a:solidFill>
                <a:latin typeface="Segoe UI Light"/>
                <a:ea typeface="Times New Roman" panose="02020603050405020304" pitchFamily="18" charset="0"/>
                <a:cs typeface="Times New Roman" panose="02020603050405020304" pitchFamily="18" charset="0"/>
              </a:rPr>
              <a:t>: Traditional network and endpoint security measures no longer </a:t>
            </a:r>
            <a:r>
              <a:rPr lang="en-US" dirty="0" smtClean="0">
                <a:solidFill>
                  <a:srgbClr val="000000"/>
                </a:solidFill>
                <a:latin typeface="Segoe UI Light"/>
                <a:ea typeface="Times New Roman" panose="02020603050405020304" pitchFamily="18" charset="0"/>
                <a:cs typeface="Times New Roman" panose="02020603050405020304" pitchFamily="18" charset="0"/>
              </a:rPr>
              <a:t>effective</a:t>
            </a:r>
            <a:r>
              <a:rPr lang="en-US" baseline="30000" dirty="0" smtClean="0">
                <a:solidFill>
                  <a:srgbClr val="000000"/>
                </a:solidFill>
                <a:latin typeface="Segoe UI Light"/>
                <a:ea typeface="Times New Roman" panose="02020603050405020304" pitchFamily="18" charset="0"/>
                <a:cs typeface="Times New Roman" panose="02020603050405020304" pitchFamily="18" charset="0"/>
              </a:rPr>
              <a:t>1</a:t>
            </a:r>
          </a:p>
          <a:p>
            <a:pPr marL="521335" defTabSz="914400">
              <a:tabLst>
                <a:tab pos="8684895" algn="l"/>
              </a:tabLst>
              <a:defRPr/>
            </a:pPr>
            <a:endParaRPr lang="en-US" sz="1400" kern="0" dirty="0">
              <a:solidFill>
                <a:sysClr val="window" lastClr="FFFFFF"/>
              </a:solidFill>
              <a:latin typeface="Segoe UI Light"/>
              <a:ea typeface="Times New Roman" panose="02020603050405020304" pitchFamily="18" charset="0"/>
            </a:endParaRPr>
          </a:p>
          <a:p>
            <a:pPr marL="521335" defTabSz="914400">
              <a:tabLst>
                <a:tab pos="8684895" algn="l"/>
              </a:tabLst>
              <a:defRPr/>
            </a:pPr>
            <a:r>
              <a:rPr lang="en-US" sz="1100" i="1" dirty="0">
                <a:solidFill>
                  <a:srgbClr val="000000"/>
                </a:solidFill>
                <a:latin typeface="Segoe UI Light"/>
                <a:ea typeface="Times New Roman" panose="02020603050405020304" pitchFamily="18" charset="0"/>
                <a:cs typeface="Times New Roman" panose="02020603050405020304" pitchFamily="18" charset="0"/>
              </a:rPr>
              <a:t>1: The Growing Importance of Cloud Access Security Brokers: Gartner</a:t>
            </a:r>
            <a:endParaRPr lang="en-US" sz="1400" kern="0" dirty="0">
              <a:solidFill>
                <a:sysClr val="window" lastClr="FFFFFF"/>
              </a:solidFill>
              <a:latin typeface="Segoe UI Light"/>
              <a:ea typeface="Times New Roman" panose="02020603050405020304" pitchFamily="18" charset="0"/>
            </a:endParaRPr>
          </a:p>
        </p:txBody>
      </p:sp>
    </p:spTree>
    <p:extLst>
      <p:ext uri="{BB962C8B-B14F-4D97-AF65-F5344CB8AC3E}">
        <p14:creationId xmlns:p14="http://schemas.microsoft.com/office/powerpoint/2010/main" val="409012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ppt_x"/>
                                          </p:val>
                                        </p:tav>
                                        <p:tav tm="100000">
                                          <p:val>
                                            <p:strVal val="#ppt_x"/>
                                          </p:val>
                                        </p:tav>
                                      </p:tavLst>
                                    </p:anim>
                                    <p:anim calcmode="lin" valueType="num">
                                      <p:cBhvr additive="base">
                                        <p:cTn id="8"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1A4D2FE5-5B99-4C5F-BE7C-BF7E0F728B68}" vid="{2DAD81D4-5DE9-4579-B4FE-455254988390}"/>
    </a:ext>
  </a:extLst>
</a:theme>
</file>

<file path=ppt/theme/theme2.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NA14Speaker_PPT_Template.potx [Read-Only]" id="{422F4896-6938-4D7D-82A9-8D9E48224F63}" vid="{818D42D7-5E34-4735-B680-4BD03B58D092}"/>
    </a:ext>
  </a:extLst>
</a:theme>
</file>

<file path=ppt/theme/theme3.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5.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6.xml><?xml version="1.0" encoding="utf-8"?>
<a:theme xmlns:a="http://schemas.openxmlformats.org/drawingml/2006/main" name="1_People-Centric IT">
  <a:themeElements>
    <a:clrScheme name="STB Template Teal">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21E"/>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9A8E657C-465A-4BBD-9062-958AEFC89CEA}"/>
    </a:ext>
  </a:extLst>
</a:theme>
</file>

<file path=ppt/theme/theme7.xml><?xml version="1.0" encoding="utf-8"?>
<a:theme xmlns:a="http://schemas.openxmlformats.org/drawingml/2006/main" name="2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NA14_PCIT-B334_Kladakis_Bishop.potx" id="{7EB55FCD-8618-4064-B7C0-B754758A030B}" vid="{54C9304B-D707-47C9-A8AA-7DDCA60A501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Nasos Kladakis</External_x0020_Speaker>
    <Session_x0020_Code xmlns="e36bfbf9-5e42-489c-a259-4c54eb22cb57"> DCIM-B382</Session_x0020_Code>
    <Presentation_x0020_Date xmlns="e36bfbf9-5e42-489c-a259-4c54eb22cb57">2014-05-13T00:00:00-05: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metadata/properties"/>
    <ds:schemaRef ds:uri="http://schemas.microsoft.com/office/2006/documentManagement/types"/>
    <ds:schemaRef ds:uri="http://purl.org/dc/elements/1.1/"/>
    <ds:schemaRef ds:uri="http://purl.org/dc/terms/"/>
    <ds:schemaRef ds:uri="http://schemas.microsoft.com/office/infopath/2007/PartnerControls"/>
    <ds:schemaRef ds:uri="230e9df3-be65-4c73-a93b-d1236ebd677e"/>
    <ds:schemaRef ds:uri="http://purl.org/dc/dcmitype/"/>
    <ds:schemaRef ds:uri="e36bfbf9-5e42-489c-a259-4c54eb22cb57"/>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4_Template</Template>
  <TotalTime>12</TotalTime>
  <Words>4590</Words>
  <Application>Microsoft Office PowerPoint</Application>
  <PresentationFormat>Custom</PresentationFormat>
  <Paragraphs>424</Paragraphs>
  <Slides>35</Slides>
  <Notes>31</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35</vt:i4>
      </vt:variant>
    </vt:vector>
  </HeadingPairs>
  <TitlesOfParts>
    <vt:vector size="51" baseType="lpstr">
      <vt:lpstr>Arial</vt:lpstr>
      <vt:lpstr>Calibri</vt:lpstr>
      <vt:lpstr>Consolas</vt:lpstr>
      <vt:lpstr>Segoe</vt:lpstr>
      <vt:lpstr>Segoe Pro</vt:lpstr>
      <vt:lpstr>Segoe UI</vt:lpstr>
      <vt:lpstr>Segoe UI Light</vt:lpstr>
      <vt:lpstr>Times New Roman</vt:lpstr>
      <vt:lpstr>Wingdings</vt:lpstr>
      <vt:lpstr>TechEd 2014 Dk Blue</vt:lpstr>
      <vt:lpstr>1_TechEd 2014 Dk Blue</vt:lpstr>
      <vt:lpstr>Azure Medium</vt:lpstr>
      <vt:lpstr>People-Centric IT</vt:lpstr>
      <vt:lpstr>Metro Template Colored Titles Segoe UI 16x9</vt:lpstr>
      <vt:lpstr>1_People-Centric IT</vt:lpstr>
      <vt:lpstr>2_TechEd 2014 Dk Blue</vt:lpstr>
      <vt:lpstr>PowerPoint Presentation</vt:lpstr>
      <vt:lpstr>Cloud Identity and Access Management:  Azure Active Directory Premium</vt:lpstr>
      <vt:lpstr>Technology trends: driving cloud adoption</vt:lpstr>
      <vt:lpstr>Externalization and Consumerization of IT</vt:lpstr>
      <vt:lpstr>A world of devices and SaaS Applications</vt:lpstr>
      <vt:lpstr>Public Identity as the control point</vt:lpstr>
      <vt:lpstr>What is Azure Active Directory?</vt:lpstr>
      <vt:lpstr>Azure Active Directory Premium</vt:lpstr>
      <vt:lpstr>A world of devices and SaaS Applications : Is this my problem?</vt:lpstr>
      <vt:lpstr>Cloud App Discovery</vt:lpstr>
      <vt:lpstr>PowerPoint Presentation</vt:lpstr>
      <vt:lpstr>Windows Azure Active Directory usage scenarios</vt:lpstr>
      <vt:lpstr>PowerPoint Presentation</vt:lpstr>
      <vt:lpstr>Your Directory on the cloud </vt:lpstr>
      <vt:lpstr>Delivering a seamless user authentication experience</vt:lpstr>
      <vt:lpstr>Your Directory on the cloud </vt:lpstr>
      <vt:lpstr>Preintegrated SaaS apps in the application gallery  </vt:lpstr>
      <vt:lpstr>Your Directory on the cloud </vt:lpstr>
      <vt:lpstr>Centrally managed identities and access</vt:lpstr>
      <vt:lpstr>Monitor and protect access to enterprise apps</vt:lpstr>
      <vt:lpstr>Monitor and protect access to enterprise apps</vt:lpstr>
      <vt:lpstr>What is Azure Multi-Factor Authentication?</vt:lpstr>
      <vt:lpstr>How It Works</vt:lpstr>
      <vt:lpstr>Empower Users</vt:lpstr>
      <vt:lpstr>Empower Users</vt:lpstr>
      <vt:lpstr>Demo</vt:lpstr>
      <vt:lpstr>Azure Active Directory free and premium offerings feature comparison </vt:lpstr>
      <vt:lpstr>Putting it all together</vt:lpstr>
      <vt:lpstr>Related content</vt:lpstr>
      <vt:lpstr>Track resources</vt:lpstr>
      <vt:lpstr>PowerPoint Presentation</vt:lpstr>
      <vt:lpstr>Resources</vt:lpstr>
      <vt:lpstr>Complete an evaluation and enter to win!</vt:lpstr>
      <vt:lpstr>Evaluate this session</vt:lpstr>
      <vt:lpstr>PowerPoint Presentation</vt:lpstr>
    </vt:vector>
  </TitlesOfParts>
  <Manager>&lt;Speech writer name goes here&gt;</Manager>
  <Company>MS EVENT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Identity and Access Management: Microsoft Azure Active Directory Premium</dc:title>
  <dc:subject>TechEd 2014</dc:subject>
  <dc:creator>testadmin</dc:creator>
  <cp:keywords/>
  <dc:description>Template: Jordan Cayabyab, Artitudes Design
Formatting: 
Audience Type:</dc:description>
  <cp:lastModifiedBy>testadmin</cp:lastModifiedBy>
  <cp:revision>5</cp:revision>
  <dcterms:created xsi:type="dcterms:W3CDTF">2014-05-09T18:29:03Z</dcterms:created>
  <dcterms:modified xsi:type="dcterms:W3CDTF">2014-05-13T20:4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